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267" r:id="rId2"/>
    <p:sldId id="271" r:id="rId3"/>
    <p:sldId id="270" r:id="rId4"/>
    <p:sldId id="266" r:id="rId5"/>
    <p:sldId id="272" r:id="rId6"/>
  </p:sldIdLst>
  <p:sldSz cx="9144000" cy="6858000" type="screen4x3"/>
  <p:notesSz cx="6797675" cy="9925050"/>
  <p:defaultTextStyle>
    <a:defPPr>
      <a:defRPr lang="ru-RU"/>
    </a:defPPr>
    <a:lvl1pPr marL="0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45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90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35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81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26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71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16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161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C00"/>
    <a:srgbClr val="D6ED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688" autoAdjust="0"/>
    <p:restoredTop sz="86475" autoAdjust="0"/>
  </p:normalViewPr>
  <p:slideViewPr>
    <p:cSldViewPr>
      <p:cViewPr varScale="1">
        <p:scale>
          <a:sx n="116" d="100"/>
          <a:sy n="116" d="100"/>
        </p:scale>
        <p:origin x="1980" y="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222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F3692B3-BCBF-46B2-BE36-9E9229C2EB6C}" type="doc">
      <dgm:prSet loTypeId="urn:microsoft.com/office/officeart/2005/8/layout/vList3" loCatId="list" qsTypeId="urn:microsoft.com/office/officeart/2005/8/quickstyle/simple1" qsCatId="simple" csTypeId="urn:microsoft.com/office/officeart/2005/8/colors/colorful3" csCatId="colorful" phldr="1"/>
      <dgm:spPr/>
    </dgm:pt>
    <dgm:pt modelId="{8704EEF8-31BC-483A-9DF1-F9DF3352D69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1917,89 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EC6E2AF8-9736-4271-B632-D1A777A5B047}" type="parTrans" cxnId="{0D95DE93-D19D-4BE7-B85B-3DE51E6BA96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8FEDB42F-9C58-414E-AA76-060A2FB456FF}" type="sibTrans" cxnId="{0D95DE93-D19D-4BE7-B85B-3DE51E6BA96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B0EEEB7-3418-4075-80F0-08485E22010A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45,49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D6D65466-D3C7-4E8F-B3B9-C503976F9D61}" type="parTrans" cxnId="{5A95059D-51D6-4D3B-9253-BF88A0B0154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B83E4A4-B25B-4FB2-A90C-765A8A377CB6}" type="sibTrans" cxnId="{5A95059D-51D6-4D3B-9253-BF88A0B0154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0575ACA-C387-4BB4-ADFD-1B2BFC94BEE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27,88 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2C2A25AA-EA06-4583-B533-98D7CC1C1062}" type="parTrans" cxnId="{753D44EB-733B-4CCB-BF29-25FE421F64C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5BD23F4A-F4D7-4701-8FFD-A4CDDFBC6310}" type="sibTrans" cxnId="{753D44EB-733B-4CCB-BF29-25FE421F64C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A420A148-CD3A-4180-AF7A-590D94CB1CF3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5,36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79ADEC20-172C-4238-9319-240D26811FB2}" type="parTrans" cxnId="{EAABC2E1-BB71-43A3-94A2-BD87E87CF6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906CAEA3-8DCC-4A4A-9197-A36FBA54A00B}" type="sibTrans" cxnId="{EAABC2E1-BB71-43A3-94A2-BD87E87CF6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B4E9D314-CC87-45D8-AC1A-D37558C878D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5,59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243235BE-FDF5-4854-AA1B-A678BDA2D8B2}" type="parTrans" cxnId="{C4E54557-7872-465C-96ED-EB0451E8BD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3D8956F-E5AF-4AFB-88CA-6F876F28F876}" type="sibTrans" cxnId="{C4E54557-7872-465C-96ED-EB0451E8BD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D3AE978C-494B-41A3-B686-3D9FDCD47707}" type="pres">
      <dgm:prSet presAssocID="{3F3692B3-BCBF-46B2-BE36-9E9229C2EB6C}" presName="linearFlow" presStyleCnt="0">
        <dgm:presLayoutVars>
          <dgm:dir/>
          <dgm:resizeHandles val="exact"/>
        </dgm:presLayoutVars>
      </dgm:prSet>
      <dgm:spPr/>
    </dgm:pt>
    <dgm:pt modelId="{B502AAC8-F1B0-49FF-8154-51F1DE6A5FC1}" type="pres">
      <dgm:prSet presAssocID="{8704EEF8-31BC-483A-9DF1-F9DF3352D699}" presName="composite" presStyleCnt="0"/>
      <dgm:spPr/>
    </dgm:pt>
    <dgm:pt modelId="{E17B80E1-7BAB-4E41-A74B-EC1A9DBAD870}" type="pres">
      <dgm:prSet presAssocID="{8704EEF8-31BC-483A-9DF1-F9DF3352D699}" presName="imgShp" presStyleLbl="fgImgPlace1" presStyleIdx="0" presStyleCnt="5" custScaleX="43914" custScaleY="43913"/>
      <dgm:spPr>
        <a:solidFill>
          <a:srgbClr val="C00000"/>
        </a:solidFill>
        <a:ln>
          <a:solidFill>
            <a:srgbClr val="C00000"/>
          </a:solidFill>
        </a:ln>
      </dgm:spPr>
    </dgm:pt>
    <dgm:pt modelId="{CA317B56-0599-4F56-A0B7-415975366334}" type="pres">
      <dgm:prSet presAssocID="{8704EEF8-31BC-483A-9DF1-F9DF3352D699}" presName="txShp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41F1531-1F86-47AC-9682-8A98E07CB27E}" type="pres">
      <dgm:prSet presAssocID="{8FEDB42F-9C58-414E-AA76-060A2FB456FF}" presName="spacing" presStyleCnt="0"/>
      <dgm:spPr/>
    </dgm:pt>
    <dgm:pt modelId="{A5F20255-A99A-4859-9275-EC1E9396587C}" type="pres">
      <dgm:prSet presAssocID="{0B0EEEB7-3418-4075-80F0-08485E22010A}" presName="composite" presStyleCnt="0"/>
      <dgm:spPr/>
    </dgm:pt>
    <dgm:pt modelId="{185E2DE2-1D5B-4B4D-B945-DFDDF2C33608}" type="pres">
      <dgm:prSet presAssocID="{0B0EEEB7-3418-4075-80F0-08485E22010A}" presName="imgShp" presStyleLbl="fgImgPlace1" presStyleIdx="1" presStyleCnt="5" custScaleX="43914" custScaleY="43913"/>
      <dgm:spPr>
        <a:solidFill>
          <a:schemeClr val="tx2"/>
        </a:solidFill>
        <a:ln>
          <a:solidFill>
            <a:schemeClr val="tx2"/>
          </a:solidFill>
        </a:ln>
      </dgm:spPr>
    </dgm:pt>
    <dgm:pt modelId="{BD7E4BD3-B707-4DAE-862C-B2CCAE37C549}" type="pres">
      <dgm:prSet presAssocID="{0B0EEEB7-3418-4075-80F0-08485E22010A}" presName="txShp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3DB4B76-A7F4-44CC-980A-61F2EC094096}" type="pres">
      <dgm:prSet presAssocID="{0B83E4A4-B25B-4FB2-A90C-765A8A377CB6}" presName="spacing" presStyleCnt="0"/>
      <dgm:spPr/>
    </dgm:pt>
    <dgm:pt modelId="{6A9B6AAF-EB12-48E2-A5F4-9983EEF05B0C}" type="pres">
      <dgm:prSet presAssocID="{00575ACA-C387-4BB4-ADFD-1B2BFC94BEE9}" presName="composite" presStyleCnt="0"/>
      <dgm:spPr/>
    </dgm:pt>
    <dgm:pt modelId="{F13C8B11-2853-4A6E-A433-AAA58C84128B}" type="pres">
      <dgm:prSet presAssocID="{00575ACA-C387-4BB4-ADFD-1B2BFC94BEE9}" presName="imgShp" presStyleLbl="fgImgPlace1" presStyleIdx="2" presStyleCnt="5" custScaleX="43914" custScaleY="43913"/>
      <dgm:spPr>
        <a:solidFill>
          <a:srgbClr val="92D050"/>
        </a:solidFill>
        <a:ln>
          <a:solidFill>
            <a:srgbClr val="92D050"/>
          </a:solidFill>
        </a:ln>
      </dgm:spPr>
    </dgm:pt>
    <dgm:pt modelId="{CC97B532-372C-4341-9F51-4EDF589A5E16}" type="pres">
      <dgm:prSet presAssocID="{00575ACA-C387-4BB4-ADFD-1B2BFC94BEE9}" presName="txShp" presStyleLbl="node1" presStyleIdx="2" presStyleCnt="5" custLinFactNeighborX="2620" custLinFactNeighborY="1365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C782933-305D-4A66-86EB-142BD8744A28}" type="pres">
      <dgm:prSet presAssocID="{5BD23F4A-F4D7-4701-8FFD-A4CDDFBC6310}" presName="spacing" presStyleCnt="0"/>
      <dgm:spPr/>
    </dgm:pt>
    <dgm:pt modelId="{16C816EF-B28F-4EAF-B312-D0043B8DBD1F}" type="pres">
      <dgm:prSet presAssocID="{B4E9D314-CC87-45D8-AC1A-D37558C878D9}" presName="composite" presStyleCnt="0"/>
      <dgm:spPr/>
    </dgm:pt>
    <dgm:pt modelId="{1406A248-9C69-41E6-8D85-0ED4F0938136}" type="pres">
      <dgm:prSet presAssocID="{B4E9D314-CC87-45D8-AC1A-D37558C878D9}" presName="imgShp" presStyleLbl="fgImgPlace1" presStyleIdx="3" presStyleCnt="5" custScaleX="43914" custScaleY="43913"/>
      <dgm:spPr>
        <a:solidFill>
          <a:schemeClr val="accent1">
            <a:lumMod val="60000"/>
            <a:lumOff val="40000"/>
          </a:schemeClr>
        </a:solidFill>
        <a:ln>
          <a:solidFill>
            <a:schemeClr val="accent1">
              <a:lumMod val="60000"/>
              <a:lumOff val="40000"/>
            </a:schemeClr>
          </a:solidFill>
        </a:ln>
      </dgm:spPr>
    </dgm:pt>
    <dgm:pt modelId="{94F11791-EE9D-458C-9C0D-8C4DF815BFCA}" type="pres">
      <dgm:prSet presAssocID="{B4E9D314-CC87-45D8-AC1A-D37558C878D9}" presName="txShp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C48A2A1-744E-4215-9C21-5D84FCA67219}" type="pres">
      <dgm:prSet presAssocID="{03D8956F-E5AF-4AFB-88CA-6F876F28F876}" presName="spacing" presStyleCnt="0"/>
      <dgm:spPr/>
    </dgm:pt>
    <dgm:pt modelId="{C664E10B-C7A1-4921-9D3A-2CABBD9A32A8}" type="pres">
      <dgm:prSet presAssocID="{A420A148-CD3A-4180-AF7A-590D94CB1CF3}" presName="composite" presStyleCnt="0"/>
      <dgm:spPr/>
    </dgm:pt>
    <dgm:pt modelId="{46B86910-D26B-4F95-9827-3ADC43AE18EE}" type="pres">
      <dgm:prSet presAssocID="{A420A148-CD3A-4180-AF7A-590D94CB1CF3}" presName="imgShp" presStyleLbl="fgImgPlace1" presStyleIdx="4" presStyleCnt="5" custScaleX="43914" custScaleY="43913"/>
      <dgm:spPr>
        <a:solidFill>
          <a:srgbClr val="7030A0"/>
        </a:solidFill>
        <a:ln>
          <a:solidFill>
            <a:srgbClr val="7030A0"/>
          </a:solidFill>
        </a:ln>
      </dgm:spPr>
    </dgm:pt>
    <dgm:pt modelId="{D0FD797F-4E73-4FC3-B01F-0D74CF9244CE}" type="pres">
      <dgm:prSet presAssocID="{A420A148-CD3A-4180-AF7A-590D94CB1CF3}" presName="txShp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B4967CE-235E-4C44-A304-626E19595522}" type="presOf" srcId="{00575ACA-C387-4BB4-ADFD-1B2BFC94BEE9}" destId="{CC97B532-372C-4341-9F51-4EDF589A5E16}" srcOrd="0" destOrd="0" presId="urn:microsoft.com/office/officeart/2005/8/layout/vList3"/>
    <dgm:cxn modelId="{753D44EB-733B-4CCB-BF29-25FE421F64CB}" srcId="{3F3692B3-BCBF-46B2-BE36-9E9229C2EB6C}" destId="{00575ACA-C387-4BB4-ADFD-1B2BFC94BEE9}" srcOrd="2" destOrd="0" parTransId="{2C2A25AA-EA06-4583-B533-98D7CC1C1062}" sibTransId="{5BD23F4A-F4D7-4701-8FFD-A4CDDFBC6310}"/>
    <dgm:cxn modelId="{ED88AECE-0179-4C58-BC53-19B3C6CD06CE}" type="presOf" srcId="{3F3692B3-BCBF-46B2-BE36-9E9229C2EB6C}" destId="{D3AE978C-494B-41A3-B686-3D9FDCD47707}" srcOrd="0" destOrd="0" presId="urn:microsoft.com/office/officeart/2005/8/layout/vList3"/>
    <dgm:cxn modelId="{EDF76100-956E-4151-A1B7-19AE396563E5}" type="presOf" srcId="{A420A148-CD3A-4180-AF7A-590D94CB1CF3}" destId="{D0FD797F-4E73-4FC3-B01F-0D74CF9244CE}" srcOrd="0" destOrd="0" presId="urn:microsoft.com/office/officeart/2005/8/layout/vList3"/>
    <dgm:cxn modelId="{5A95059D-51D6-4D3B-9253-BF88A0B01545}" srcId="{3F3692B3-BCBF-46B2-BE36-9E9229C2EB6C}" destId="{0B0EEEB7-3418-4075-80F0-08485E22010A}" srcOrd="1" destOrd="0" parTransId="{D6D65466-D3C7-4E8F-B3B9-C503976F9D61}" sibTransId="{0B83E4A4-B25B-4FB2-A90C-765A8A377CB6}"/>
    <dgm:cxn modelId="{0D95DE93-D19D-4BE7-B85B-3DE51E6BA96B}" srcId="{3F3692B3-BCBF-46B2-BE36-9E9229C2EB6C}" destId="{8704EEF8-31BC-483A-9DF1-F9DF3352D699}" srcOrd="0" destOrd="0" parTransId="{EC6E2AF8-9736-4271-B632-D1A777A5B047}" sibTransId="{8FEDB42F-9C58-414E-AA76-060A2FB456FF}"/>
    <dgm:cxn modelId="{EAABC2E1-BB71-43A3-94A2-BD87E87CF6D5}" srcId="{3F3692B3-BCBF-46B2-BE36-9E9229C2EB6C}" destId="{A420A148-CD3A-4180-AF7A-590D94CB1CF3}" srcOrd="4" destOrd="0" parTransId="{79ADEC20-172C-4238-9319-240D26811FB2}" sibTransId="{906CAEA3-8DCC-4A4A-9197-A36FBA54A00B}"/>
    <dgm:cxn modelId="{8F02AA28-B06B-4616-B008-38390C22BD70}" type="presOf" srcId="{B4E9D314-CC87-45D8-AC1A-D37558C878D9}" destId="{94F11791-EE9D-458C-9C0D-8C4DF815BFCA}" srcOrd="0" destOrd="0" presId="urn:microsoft.com/office/officeart/2005/8/layout/vList3"/>
    <dgm:cxn modelId="{C4E54557-7872-465C-96ED-EB0451E8BDD5}" srcId="{3F3692B3-BCBF-46B2-BE36-9E9229C2EB6C}" destId="{B4E9D314-CC87-45D8-AC1A-D37558C878D9}" srcOrd="3" destOrd="0" parTransId="{243235BE-FDF5-4854-AA1B-A678BDA2D8B2}" sibTransId="{03D8956F-E5AF-4AFB-88CA-6F876F28F876}"/>
    <dgm:cxn modelId="{B8B1523A-A7D7-4C95-B804-44330135C4E8}" type="presOf" srcId="{0B0EEEB7-3418-4075-80F0-08485E22010A}" destId="{BD7E4BD3-B707-4DAE-862C-B2CCAE37C549}" srcOrd="0" destOrd="0" presId="urn:microsoft.com/office/officeart/2005/8/layout/vList3"/>
    <dgm:cxn modelId="{19E8E33D-ABEB-4852-986B-CAD379F55EDC}" type="presOf" srcId="{8704EEF8-31BC-483A-9DF1-F9DF3352D699}" destId="{CA317B56-0599-4F56-A0B7-415975366334}" srcOrd="0" destOrd="0" presId="urn:microsoft.com/office/officeart/2005/8/layout/vList3"/>
    <dgm:cxn modelId="{0E538DEA-61B6-4515-9045-D0C64E4E35C8}" type="presParOf" srcId="{D3AE978C-494B-41A3-B686-3D9FDCD47707}" destId="{B502AAC8-F1B0-49FF-8154-51F1DE6A5FC1}" srcOrd="0" destOrd="0" presId="urn:microsoft.com/office/officeart/2005/8/layout/vList3"/>
    <dgm:cxn modelId="{EA8C270D-EB49-4200-8BBB-2EEB42EA1A2A}" type="presParOf" srcId="{B502AAC8-F1B0-49FF-8154-51F1DE6A5FC1}" destId="{E17B80E1-7BAB-4E41-A74B-EC1A9DBAD870}" srcOrd="0" destOrd="0" presId="urn:microsoft.com/office/officeart/2005/8/layout/vList3"/>
    <dgm:cxn modelId="{77F83109-AEA7-4571-AD96-20C47F3D1080}" type="presParOf" srcId="{B502AAC8-F1B0-49FF-8154-51F1DE6A5FC1}" destId="{CA317B56-0599-4F56-A0B7-415975366334}" srcOrd="1" destOrd="0" presId="urn:microsoft.com/office/officeart/2005/8/layout/vList3"/>
    <dgm:cxn modelId="{083E3D6D-981D-46C8-9C8F-4BEDE185F637}" type="presParOf" srcId="{D3AE978C-494B-41A3-B686-3D9FDCD47707}" destId="{D41F1531-1F86-47AC-9682-8A98E07CB27E}" srcOrd="1" destOrd="0" presId="urn:microsoft.com/office/officeart/2005/8/layout/vList3"/>
    <dgm:cxn modelId="{D405D994-75F5-4094-8B51-CF41F38582FB}" type="presParOf" srcId="{D3AE978C-494B-41A3-B686-3D9FDCD47707}" destId="{A5F20255-A99A-4859-9275-EC1E9396587C}" srcOrd="2" destOrd="0" presId="urn:microsoft.com/office/officeart/2005/8/layout/vList3"/>
    <dgm:cxn modelId="{A4DAE7D6-73EF-4AB5-97EC-314127DCE5DE}" type="presParOf" srcId="{A5F20255-A99A-4859-9275-EC1E9396587C}" destId="{185E2DE2-1D5B-4B4D-B945-DFDDF2C33608}" srcOrd="0" destOrd="0" presId="urn:microsoft.com/office/officeart/2005/8/layout/vList3"/>
    <dgm:cxn modelId="{1A5E93C0-526A-4EBF-85E5-715CBBD0B164}" type="presParOf" srcId="{A5F20255-A99A-4859-9275-EC1E9396587C}" destId="{BD7E4BD3-B707-4DAE-862C-B2CCAE37C549}" srcOrd="1" destOrd="0" presId="urn:microsoft.com/office/officeart/2005/8/layout/vList3"/>
    <dgm:cxn modelId="{8938DB9E-B7D6-4805-8EFF-BD4C530F955E}" type="presParOf" srcId="{D3AE978C-494B-41A3-B686-3D9FDCD47707}" destId="{13DB4B76-A7F4-44CC-980A-61F2EC094096}" srcOrd="3" destOrd="0" presId="urn:microsoft.com/office/officeart/2005/8/layout/vList3"/>
    <dgm:cxn modelId="{9ED5AB1F-DC3D-41A3-BDC5-288C118842B3}" type="presParOf" srcId="{D3AE978C-494B-41A3-B686-3D9FDCD47707}" destId="{6A9B6AAF-EB12-48E2-A5F4-9983EEF05B0C}" srcOrd="4" destOrd="0" presId="urn:microsoft.com/office/officeart/2005/8/layout/vList3"/>
    <dgm:cxn modelId="{93CCC15B-139E-41B8-9372-87EFDDD6C4A6}" type="presParOf" srcId="{6A9B6AAF-EB12-48E2-A5F4-9983EEF05B0C}" destId="{F13C8B11-2853-4A6E-A433-AAA58C84128B}" srcOrd="0" destOrd="0" presId="urn:microsoft.com/office/officeart/2005/8/layout/vList3"/>
    <dgm:cxn modelId="{15B46D9C-81A4-4CC1-8B4D-B08A5280D91D}" type="presParOf" srcId="{6A9B6AAF-EB12-48E2-A5F4-9983EEF05B0C}" destId="{CC97B532-372C-4341-9F51-4EDF589A5E16}" srcOrd="1" destOrd="0" presId="urn:microsoft.com/office/officeart/2005/8/layout/vList3"/>
    <dgm:cxn modelId="{9DE849D3-8C66-4FE9-9DE1-E3CCB998936D}" type="presParOf" srcId="{D3AE978C-494B-41A3-B686-3D9FDCD47707}" destId="{3C782933-305D-4A66-86EB-142BD8744A28}" srcOrd="5" destOrd="0" presId="urn:microsoft.com/office/officeart/2005/8/layout/vList3"/>
    <dgm:cxn modelId="{4284161F-BEC8-4079-BC4E-8F898C5C10D3}" type="presParOf" srcId="{D3AE978C-494B-41A3-B686-3D9FDCD47707}" destId="{16C816EF-B28F-4EAF-B312-D0043B8DBD1F}" srcOrd="6" destOrd="0" presId="urn:microsoft.com/office/officeart/2005/8/layout/vList3"/>
    <dgm:cxn modelId="{909A1028-7EF2-4E5D-8266-E729B8C78AE7}" type="presParOf" srcId="{16C816EF-B28F-4EAF-B312-D0043B8DBD1F}" destId="{1406A248-9C69-41E6-8D85-0ED4F0938136}" srcOrd="0" destOrd="0" presId="urn:microsoft.com/office/officeart/2005/8/layout/vList3"/>
    <dgm:cxn modelId="{6F1DBA50-98ED-485E-9BBD-7BD42F4454F1}" type="presParOf" srcId="{16C816EF-B28F-4EAF-B312-D0043B8DBD1F}" destId="{94F11791-EE9D-458C-9C0D-8C4DF815BFCA}" srcOrd="1" destOrd="0" presId="urn:microsoft.com/office/officeart/2005/8/layout/vList3"/>
    <dgm:cxn modelId="{830B3B16-88A1-4A98-97A4-451F6B45AF48}" type="presParOf" srcId="{D3AE978C-494B-41A3-B686-3D9FDCD47707}" destId="{AC48A2A1-744E-4215-9C21-5D84FCA67219}" srcOrd="7" destOrd="0" presId="urn:microsoft.com/office/officeart/2005/8/layout/vList3"/>
    <dgm:cxn modelId="{05C6F841-3200-4A9D-B77A-D0B7BB90DA6F}" type="presParOf" srcId="{D3AE978C-494B-41A3-B686-3D9FDCD47707}" destId="{C664E10B-C7A1-4921-9D3A-2CABBD9A32A8}" srcOrd="8" destOrd="0" presId="urn:microsoft.com/office/officeart/2005/8/layout/vList3"/>
    <dgm:cxn modelId="{E01409F9-2DCB-4A2D-9FDD-9790F675F1A7}" type="presParOf" srcId="{C664E10B-C7A1-4921-9D3A-2CABBD9A32A8}" destId="{46B86910-D26B-4F95-9827-3ADC43AE18EE}" srcOrd="0" destOrd="0" presId="urn:microsoft.com/office/officeart/2005/8/layout/vList3"/>
    <dgm:cxn modelId="{1949AF2D-CE37-47F9-B575-854842E876BC}" type="presParOf" srcId="{C664E10B-C7A1-4921-9D3A-2CABBD9A32A8}" destId="{D0FD797F-4E73-4FC3-B01F-0D74CF9244CE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3F3692B3-BCBF-46B2-BE36-9E9229C2EB6C}" type="doc">
      <dgm:prSet loTypeId="urn:microsoft.com/office/officeart/2005/8/layout/vList3" loCatId="list" qsTypeId="urn:microsoft.com/office/officeart/2005/8/quickstyle/simple1" qsCatId="simple" csTypeId="urn:microsoft.com/office/officeart/2005/8/colors/colorful3" csCatId="colorful" phldr="1"/>
      <dgm:spPr/>
    </dgm:pt>
    <dgm:pt modelId="{8704EEF8-31BC-483A-9DF1-F9DF3352D69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934,89 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EC6E2AF8-9736-4271-B632-D1A777A5B047}" type="parTrans" cxnId="{0D95DE93-D19D-4BE7-B85B-3DE51E6BA96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8FEDB42F-9C58-414E-AA76-060A2FB456FF}" type="sibTrans" cxnId="{0D95DE93-D19D-4BE7-B85B-3DE51E6BA96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B0EEEB7-3418-4075-80F0-08485E22010A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26,48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D6D65466-D3C7-4E8F-B3B9-C503976F9D61}" type="parTrans" cxnId="{5A95059D-51D6-4D3B-9253-BF88A0B0154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B83E4A4-B25B-4FB2-A90C-765A8A377CB6}" type="sibTrans" cxnId="{5A95059D-51D6-4D3B-9253-BF88A0B0154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0575ACA-C387-4BB4-ADFD-1B2BFC94BEE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11,77 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2C2A25AA-EA06-4583-B533-98D7CC1C1062}" type="parTrans" cxnId="{753D44EB-733B-4CCB-BF29-25FE421F64C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5BD23F4A-F4D7-4701-8FFD-A4CDDFBC6310}" type="sibTrans" cxnId="{753D44EB-733B-4CCB-BF29-25FE421F64C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A420A148-CD3A-4180-AF7A-590D94CB1CF3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4,72 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79ADEC20-172C-4238-9319-240D26811FB2}" type="parTrans" cxnId="{EAABC2E1-BB71-43A3-94A2-BD87E87CF6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906CAEA3-8DCC-4A4A-9197-A36FBA54A00B}" type="sibTrans" cxnId="{EAABC2E1-BB71-43A3-94A2-BD87E87CF6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B4E9D314-CC87-45D8-AC1A-D37558C878D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4,49 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243235BE-FDF5-4854-AA1B-A678BDA2D8B2}" type="parTrans" cxnId="{C4E54557-7872-465C-96ED-EB0451E8BD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3D8956F-E5AF-4AFB-88CA-6F876F28F876}" type="sibTrans" cxnId="{C4E54557-7872-465C-96ED-EB0451E8BD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D3AE978C-494B-41A3-B686-3D9FDCD47707}" type="pres">
      <dgm:prSet presAssocID="{3F3692B3-BCBF-46B2-BE36-9E9229C2EB6C}" presName="linearFlow" presStyleCnt="0">
        <dgm:presLayoutVars>
          <dgm:dir/>
          <dgm:resizeHandles val="exact"/>
        </dgm:presLayoutVars>
      </dgm:prSet>
      <dgm:spPr/>
    </dgm:pt>
    <dgm:pt modelId="{B502AAC8-F1B0-49FF-8154-51F1DE6A5FC1}" type="pres">
      <dgm:prSet presAssocID="{8704EEF8-31BC-483A-9DF1-F9DF3352D699}" presName="composite" presStyleCnt="0"/>
      <dgm:spPr/>
    </dgm:pt>
    <dgm:pt modelId="{E17B80E1-7BAB-4E41-A74B-EC1A9DBAD870}" type="pres">
      <dgm:prSet presAssocID="{8704EEF8-31BC-483A-9DF1-F9DF3352D699}" presName="imgShp" presStyleLbl="fgImgPlace1" presStyleIdx="0" presStyleCnt="5" custScaleX="43914" custScaleY="43913"/>
      <dgm:spPr>
        <a:solidFill>
          <a:srgbClr val="C00000"/>
        </a:solidFill>
        <a:ln>
          <a:solidFill>
            <a:srgbClr val="C00000"/>
          </a:solidFill>
        </a:ln>
      </dgm:spPr>
    </dgm:pt>
    <dgm:pt modelId="{CA317B56-0599-4F56-A0B7-415975366334}" type="pres">
      <dgm:prSet presAssocID="{8704EEF8-31BC-483A-9DF1-F9DF3352D699}" presName="txShp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41F1531-1F86-47AC-9682-8A98E07CB27E}" type="pres">
      <dgm:prSet presAssocID="{8FEDB42F-9C58-414E-AA76-060A2FB456FF}" presName="spacing" presStyleCnt="0"/>
      <dgm:spPr/>
    </dgm:pt>
    <dgm:pt modelId="{A5F20255-A99A-4859-9275-EC1E9396587C}" type="pres">
      <dgm:prSet presAssocID="{0B0EEEB7-3418-4075-80F0-08485E22010A}" presName="composite" presStyleCnt="0"/>
      <dgm:spPr/>
    </dgm:pt>
    <dgm:pt modelId="{185E2DE2-1D5B-4B4D-B945-DFDDF2C33608}" type="pres">
      <dgm:prSet presAssocID="{0B0EEEB7-3418-4075-80F0-08485E22010A}" presName="imgShp" presStyleLbl="fgImgPlace1" presStyleIdx="1" presStyleCnt="5" custScaleX="43914" custScaleY="43913"/>
      <dgm:spPr>
        <a:solidFill>
          <a:schemeClr val="tx2"/>
        </a:solidFill>
        <a:ln>
          <a:solidFill>
            <a:schemeClr val="tx2"/>
          </a:solidFill>
        </a:ln>
      </dgm:spPr>
    </dgm:pt>
    <dgm:pt modelId="{BD7E4BD3-B707-4DAE-862C-B2CCAE37C549}" type="pres">
      <dgm:prSet presAssocID="{0B0EEEB7-3418-4075-80F0-08485E22010A}" presName="txShp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3DB4B76-A7F4-44CC-980A-61F2EC094096}" type="pres">
      <dgm:prSet presAssocID="{0B83E4A4-B25B-4FB2-A90C-765A8A377CB6}" presName="spacing" presStyleCnt="0"/>
      <dgm:spPr/>
    </dgm:pt>
    <dgm:pt modelId="{6A9B6AAF-EB12-48E2-A5F4-9983EEF05B0C}" type="pres">
      <dgm:prSet presAssocID="{00575ACA-C387-4BB4-ADFD-1B2BFC94BEE9}" presName="composite" presStyleCnt="0"/>
      <dgm:spPr/>
    </dgm:pt>
    <dgm:pt modelId="{F13C8B11-2853-4A6E-A433-AAA58C84128B}" type="pres">
      <dgm:prSet presAssocID="{00575ACA-C387-4BB4-ADFD-1B2BFC94BEE9}" presName="imgShp" presStyleLbl="fgImgPlace1" presStyleIdx="2" presStyleCnt="5" custScaleX="43914" custScaleY="43913"/>
      <dgm:spPr>
        <a:solidFill>
          <a:srgbClr val="92D050"/>
        </a:solidFill>
        <a:ln>
          <a:solidFill>
            <a:srgbClr val="92D050"/>
          </a:solidFill>
        </a:ln>
      </dgm:spPr>
    </dgm:pt>
    <dgm:pt modelId="{CC97B532-372C-4341-9F51-4EDF589A5E16}" type="pres">
      <dgm:prSet presAssocID="{00575ACA-C387-4BB4-ADFD-1B2BFC94BEE9}" presName="txShp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C782933-305D-4A66-86EB-142BD8744A28}" type="pres">
      <dgm:prSet presAssocID="{5BD23F4A-F4D7-4701-8FFD-A4CDDFBC6310}" presName="spacing" presStyleCnt="0"/>
      <dgm:spPr/>
    </dgm:pt>
    <dgm:pt modelId="{16C816EF-B28F-4EAF-B312-D0043B8DBD1F}" type="pres">
      <dgm:prSet presAssocID="{B4E9D314-CC87-45D8-AC1A-D37558C878D9}" presName="composite" presStyleCnt="0"/>
      <dgm:spPr/>
    </dgm:pt>
    <dgm:pt modelId="{1406A248-9C69-41E6-8D85-0ED4F0938136}" type="pres">
      <dgm:prSet presAssocID="{B4E9D314-CC87-45D8-AC1A-D37558C878D9}" presName="imgShp" presStyleLbl="fgImgPlace1" presStyleIdx="3" presStyleCnt="5" custScaleX="43914" custScaleY="43913"/>
      <dgm:spPr>
        <a:solidFill>
          <a:schemeClr val="accent1">
            <a:lumMod val="60000"/>
            <a:lumOff val="40000"/>
          </a:schemeClr>
        </a:solidFill>
        <a:ln>
          <a:solidFill>
            <a:schemeClr val="accent1">
              <a:lumMod val="60000"/>
              <a:lumOff val="40000"/>
            </a:schemeClr>
          </a:solidFill>
        </a:ln>
      </dgm:spPr>
    </dgm:pt>
    <dgm:pt modelId="{94F11791-EE9D-458C-9C0D-8C4DF815BFCA}" type="pres">
      <dgm:prSet presAssocID="{B4E9D314-CC87-45D8-AC1A-D37558C878D9}" presName="txShp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C48A2A1-744E-4215-9C21-5D84FCA67219}" type="pres">
      <dgm:prSet presAssocID="{03D8956F-E5AF-4AFB-88CA-6F876F28F876}" presName="spacing" presStyleCnt="0"/>
      <dgm:spPr/>
    </dgm:pt>
    <dgm:pt modelId="{C664E10B-C7A1-4921-9D3A-2CABBD9A32A8}" type="pres">
      <dgm:prSet presAssocID="{A420A148-CD3A-4180-AF7A-590D94CB1CF3}" presName="composite" presStyleCnt="0"/>
      <dgm:spPr/>
    </dgm:pt>
    <dgm:pt modelId="{46B86910-D26B-4F95-9827-3ADC43AE18EE}" type="pres">
      <dgm:prSet presAssocID="{A420A148-CD3A-4180-AF7A-590D94CB1CF3}" presName="imgShp" presStyleLbl="fgImgPlace1" presStyleIdx="4" presStyleCnt="5" custScaleX="43914" custScaleY="43913"/>
      <dgm:spPr>
        <a:solidFill>
          <a:srgbClr val="7030A0"/>
        </a:solidFill>
        <a:ln>
          <a:solidFill>
            <a:srgbClr val="7030A0"/>
          </a:solidFill>
        </a:ln>
      </dgm:spPr>
    </dgm:pt>
    <dgm:pt modelId="{D0FD797F-4E73-4FC3-B01F-0D74CF9244CE}" type="pres">
      <dgm:prSet presAssocID="{A420A148-CD3A-4180-AF7A-590D94CB1CF3}" presName="txShp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AABC2E1-BB71-43A3-94A2-BD87E87CF6D5}" srcId="{3F3692B3-BCBF-46B2-BE36-9E9229C2EB6C}" destId="{A420A148-CD3A-4180-AF7A-590D94CB1CF3}" srcOrd="4" destOrd="0" parTransId="{79ADEC20-172C-4238-9319-240D26811FB2}" sibTransId="{906CAEA3-8DCC-4A4A-9197-A36FBA54A00B}"/>
    <dgm:cxn modelId="{25D32B60-44EA-4939-AB18-47BC7CEFE116}" type="presOf" srcId="{0B0EEEB7-3418-4075-80F0-08485E22010A}" destId="{BD7E4BD3-B707-4DAE-862C-B2CCAE37C549}" srcOrd="0" destOrd="0" presId="urn:microsoft.com/office/officeart/2005/8/layout/vList3"/>
    <dgm:cxn modelId="{09E568BF-CC61-4EBB-8050-D88E76CA82F0}" type="presOf" srcId="{B4E9D314-CC87-45D8-AC1A-D37558C878D9}" destId="{94F11791-EE9D-458C-9C0D-8C4DF815BFCA}" srcOrd="0" destOrd="0" presId="urn:microsoft.com/office/officeart/2005/8/layout/vList3"/>
    <dgm:cxn modelId="{B2833AE2-8247-47BE-ACF8-932D99A87BF2}" type="presOf" srcId="{3F3692B3-BCBF-46B2-BE36-9E9229C2EB6C}" destId="{D3AE978C-494B-41A3-B686-3D9FDCD47707}" srcOrd="0" destOrd="0" presId="urn:microsoft.com/office/officeart/2005/8/layout/vList3"/>
    <dgm:cxn modelId="{6FA182B6-F57B-4723-AF0D-EA67157A6699}" type="presOf" srcId="{00575ACA-C387-4BB4-ADFD-1B2BFC94BEE9}" destId="{CC97B532-372C-4341-9F51-4EDF589A5E16}" srcOrd="0" destOrd="0" presId="urn:microsoft.com/office/officeart/2005/8/layout/vList3"/>
    <dgm:cxn modelId="{ACC54EC2-EFF6-4E06-AA6C-945BBF56F76B}" type="presOf" srcId="{8704EEF8-31BC-483A-9DF1-F9DF3352D699}" destId="{CA317B56-0599-4F56-A0B7-415975366334}" srcOrd="0" destOrd="0" presId="urn:microsoft.com/office/officeart/2005/8/layout/vList3"/>
    <dgm:cxn modelId="{9ABA6F88-F432-4FEC-854C-B71B8901196D}" type="presOf" srcId="{A420A148-CD3A-4180-AF7A-590D94CB1CF3}" destId="{D0FD797F-4E73-4FC3-B01F-0D74CF9244CE}" srcOrd="0" destOrd="0" presId="urn:microsoft.com/office/officeart/2005/8/layout/vList3"/>
    <dgm:cxn modelId="{753D44EB-733B-4CCB-BF29-25FE421F64CB}" srcId="{3F3692B3-BCBF-46B2-BE36-9E9229C2EB6C}" destId="{00575ACA-C387-4BB4-ADFD-1B2BFC94BEE9}" srcOrd="2" destOrd="0" parTransId="{2C2A25AA-EA06-4583-B533-98D7CC1C1062}" sibTransId="{5BD23F4A-F4D7-4701-8FFD-A4CDDFBC6310}"/>
    <dgm:cxn modelId="{5A95059D-51D6-4D3B-9253-BF88A0B01545}" srcId="{3F3692B3-BCBF-46B2-BE36-9E9229C2EB6C}" destId="{0B0EEEB7-3418-4075-80F0-08485E22010A}" srcOrd="1" destOrd="0" parTransId="{D6D65466-D3C7-4E8F-B3B9-C503976F9D61}" sibTransId="{0B83E4A4-B25B-4FB2-A90C-765A8A377CB6}"/>
    <dgm:cxn modelId="{0D95DE93-D19D-4BE7-B85B-3DE51E6BA96B}" srcId="{3F3692B3-BCBF-46B2-BE36-9E9229C2EB6C}" destId="{8704EEF8-31BC-483A-9DF1-F9DF3352D699}" srcOrd="0" destOrd="0" parTransId="{EC6E2AF8-9736-4271-B632-D1A777A5B047}" sibTransId="{8FEDB42F-9C58-414E-AA76-060A2FB456FF}"/>
    <dgm:cxn modelId="{C4E54557-7872-465C-96ED-EB0451E8BDD5}" srcId="{3F3692B3-BCBF-46B2-BE36-9E9229C2EB6C}" destId="{B4E9D314-CC87-45D8-AC1A-D37558C878D9}" srcOrd="3" destOrd="0" parTransId="{243235BE-FDF5-4854-AA1B-A678BDA2D8B2}" sibTransId="{03D8956F-E5AF-4AFB-88CA-6F876F28F876}"/>
    <dgm:cxn modelId="{E6DDAA94-B977-4D27-AFB7-81857AD0142F}" type="presParOf" srcId="{D3AE978C-494B-41A3-B686-3D9FDCD47707}" destId="{B502AAC8-F1B0-49FF-8154-51F1DE6A5FC1}" srcOrd="0" destOrd="0" presId="urn:microsoft.com/office/officeart/2005/8/layout/vList3"/>
    <dgm:cxn modelId="{289F4977-022E-489C-81C5-D5C70039A74E}" type="presParOf" srcId="{B502AAC8-F1B0-49FF-8154-51F1DE6A5FC1}" destId="{E17B80E1-7BAB-4E41-A74B-EC1A9DBAD870}" srcOrd="0" destOrd="0" presId="urn:microsoft.com/office/officeart/2005/8/layout/vList3"/>
    <dgm:cxn modelId="{82971BA9-899D-4118-9C48-9D2A38CC19D8}" type="presParOf" srcId="{B502AAC8-F1B0-49FF-8154-51F1DE6A5FC1}" destId="{CA317B56-0599-4F56-A0B7-415975366334}" srcOrd="1" destOrd="0" presId="urn:microsoft.com/office/officeart/2005/8/layout/vList3"/>
    <dgm:cxn modelId="{25A8863B-5C90-462C-BC5F-DB6B93E4D918}" type="presParOf" srcId="{D3AE978C-494B-41A3-B686-3D9FDCD47707}" destId="{D41F1531-1F86-47AC-9682-8A98E07CB27E}" srcOrd="1" destOrd="0" presId="urn:microsoft.com/office/officeart/2005/8/layout/vList3"/>
    <dgm:cxn modelId="{41110297-9781-40B1-A24E-605F48DBB588}" type="presParOf" srcId="{D3AE978C-494B-41A3-B686-3D9FDCD47707}" destId="{A5F20255-A99A-4859-9275-EC1E9396587C}" srcOrd="2" destOrd="0" presId="urn:microsoft.com/office/officeart/2005/8/layout/vList3"/>
    <dgm:cxn modelId="{F078700D-BA0D-48DB-B14E-3E95A6A371D1}" type="presParOf" srcId="{A5F20255-A99A-4859-9275-EC1E9396587C}" destId="{185E2DE2-1D5B-4B4D-B945-DFDDF2C33608}" srcOrd="0" destOrd="0" presId="urn:microsoft.com/office/officeart/2005/8/layout/vList3"/>
    <dgm:cxn modelId="{863E0048-461F-44BA-AFBF-C65494708AE9}" type="presParOf" srcId="{A5F20255-A99A-4859-9275-EC1E9396587C}" destId="{BD7E4BD3-B707-4DAE-862C-B2CCAE37C549}" srcOrd="1" destOrd="0" presId="urn:microsoft.com/office/officeart/2005/8/layout/vList3"/>
    <dgm:cxn modelId="{60809691-F03C-4DB5-9EBC-7F7ED383B501}" type="presParOf" srcId="{D3AE978C-494B-41A3-B686-3D9FDCD47707}" destId="{13DB4B76-A7F4-44CC-980A-61F2EC094096}" srcOrd="3" destOrd="0" presId="urn:microsoft.com/office/officeart/2005/8/layout/vList3"/>
    <dgm:cxn modelId="{DE0C02C7-3C97-4261-8467-1D79031A56E8}" type="presParOf" srcId="{D3AE978C-494B-41A3-B686-3D9FDCD47707}" destId="{6A9B6AAF-EB12-48E2-A5F4-9983EEF05B0C}" srcOrd="4" destOrd="0" presId="urn:microsoft.com/office/officeart/2005/8/layout/vList3"/>
    <dgm:cxn modelId="{00F5D5AF-D196-4C35-869D-FB8DD52EC70B}" type="presParOf" srcId="{6A9B6AAF-EB12-48E2-A5F4-9983EEF05B0C}" destId="{F13C8B11-2853-4A6E-A433-AAA58C84128B}" srcOrd="0" destOrd="0" presId="urn:microsoft.com/office/officeart/2005/8/layout/vList3"/>
    <dgm:cxn modelId="{DC6AD8BA-8C86-46EF-BF1E-7C709C926C2B}" type="presParOf" srcId="{6A9B6AAF-EB12-48E2-A5F4-9983EEF05B0C}" destId="{CC97B532-372C-4341-9F51-4EDF589A5E16}" srcOrd="1" destOrd="0" presId="urn:microsoft.com/office/officeart/2005/8/layout/vList3"/>
    <dgm:cxn modelId="{E666C701-019A-4C09-B375-C6C5CDAAD951}" type="presParOf" srcId="{D3AE978C-494B-41A3-B686-3D9FDCD47707}" destId="{3C782933-305D-4A66-86EB-142BD8744A28}" srcOrd="5" destOrd="0" presId="urn:microsoft.com/office/officeart/2005/8/layout/vList3"/>
    <dgm:cxn modelId="{4575AA4D-CF43-4EAF-8B3C-8E41FCDD5C06}" type="presParOf" srcId="{D3AE978C-494B-41A3-B686-3D9FDCD47707}" destId="{16C816EF-B28F-4EAF-B312-D0043B8DBD1F}" srcOrd="6" destOrd="0" presId="urn:microsoft.com/office/officeart/2005/8/layout/vList3"/>
    <dgm:cxn modelId="{31AC0B8E-7C54-4B47-AD33-7E7EADA67884}" type="presParOf" srcId="{16C816EF-B28F-4EAF-B312-D0043B8DBD1F}" destId="{1406A248-9C69-41E6-8D85-0ED4F0938136}" srcOrd="0" destOrd="0" presId="urn:microsoft.com/office/officeart/2005/8/layout/vList3"/>
    <dgm:cxn modelId="{2FDA1F09-604A-4755-BDE5-52F298F9A7B4}" type="presParOf" srcId="{16C816EF-B28F-4EAF-B312-D0043B8DBD1F}" destId="{94F11791-EE9D-458C-9C0D-8C4DF815BFCA}" srcOrd="1" destOrd="0" presId="urn:microsoft.com/office/officeart/2005/8/layout/vList3"/>
    <dgm:cxn modelId="{5E08836A-C75D-4086-98D0-B1D5BFAAEBC6}" type="presParOf" srcId="{D3AE978C-494B-41A3-B686-3D9FDCD47707}" destId="{AC48A2A1-744E-4215-9C21-5D84FCA67219}" srcOrd="7" destOrd="0" presId="urn:microsoft.com/office/officeart/2005/8/layout/vList3"/>
    <dgm:cxn modelId="{07D3F953-821B-40B6-9406-EB532398FAC7}" type="presParOf" srcId="{D3AE978C-494B-41A3-B686-3D9FDCD47707}" destId="{C664E10B-C7A1-4921-9D3A-2CABBD9A32A8}" srcOrd="8" destOrd="0" presId="urn:microsoft.com/office/officeart/2005/8/layout/vList3"/>
    <dgm:cxn modelId="{A63D52D3-CADE-4DD3-B26B-F7FFB30D2C70}" type="presParOf" srcId="{C664E10B-C7A1-4921-9D3A-2CABBD9A32A8}" destId="{46B86910-D26B-4F95-9827-3ADC43AE18EE}" srcOrd="0" destOrd="0" presId="urn:microsoft.com/office/officeart/2005/8/layout/vList3"/>
    <dgm:cxn modelId="{F72D17C7-8AFB-4CAB-B210-6EC399D3066E}" type="presParOf" srcId="{C664E10B-C7A1-4921-9D3A-2CABBD9A32A8}" destId="{D0FD797F-4E73-4FC3-B01F-0D74CF9244CE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52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3F3692B3-BCBF-46B2-BE36-9E9229C2EB6C}" type="doc">
      <dgm:prSet loTypeId="urn:microsoft.com/office/officeart/2005/8/layout/vList3" loCatId="list" qsTypeId="urn:microsoft.com/office/officeart/2005/8/quickstyle/simple1" qsCatId="simple" csTypeId="urn:microsoft.com/office/officeart/2005/8/colors/colorful3" csCatId="colorful" phldr="1"/>
      <dgm:spPr/>
    </dgm:pt>
    <dgm:pt modelId="{8704EEF8-31BC-483A-9DF1-F9DF3352D69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3339,13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EC6E2AF8-9736-4271-B632-D1A777A5B047}" type="parTrans" cxnId="{0D95DE93-D19D-4BE7-B85B-3DE51E6BA96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8FEDB42F-9C58-414E-AA76-060A2FB456FF}" type="sibTrans" cxnId="{0D95DE93-D19D-4BE7-B85B-3DE51E6BA96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B0EEEB7-3418-4075-80F0-08485E22010A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19,36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D6D65466-D3C7-4E8F-B3B9-C503976F9D61}" type="parTrans" cxnId="{5A95059D-51D6-4D3B-9253-BF88A0B0154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B83E4A4-B25B-4FB2-A90C-765A8A377CB6}" type="sibTrans" cxnId="{5A95059D-51D6-4D3B-9253-BF88A0B0154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0575ACA-C387-4BB4-ADFD-1B2BFC94BEE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4,23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2C2A25AA-EA06-4583-B533-98D7CC1C1062}" type="parTrans" cxnId="{753D44EB-733B-4CCB-BF29-25FE421F64C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5BD23F4A-F4D7-4701-8FFD-A4CDDFBC6310}" type="sibTrans" cxnId="{753D44EB-733B-4CCB-BF29-25FE421F64C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A420A148-CD3A-4180-AF7A-590D94CB1CF3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3,0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79ADEC20-172C-4238-9319-240D26811FB2}" type="parTrans" cxnId="{EAABC2E1-BB71-43A3-94A2-BD87E87CF6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906CAEA3-8DCC-4A4A-9197-A36FBA54A00B}" type="sibTrans" cxnId="{EAABC2E1-BB71-43A3-94A2-BD87E87CF6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B4E9D314-CC87-45D8-AC1A-D37558C878D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3,74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243235BE-FDF5-4854-AA1B-A678BDA2D8B2}" type="parTrans" cxnId="{C4E54557-7872-465C-96ED-EB0451E8BD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3D8956F-E5AF-4AFB-88CA-6F876F28F876}" type="sibTrans" cxnId="{C4E54557-7872-465C-96ED-EB0451E8BD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D3AE978C-494B-41A3-B686-3D9FDCD47707}" type="pres">
      <dgm:prSet presAssocID="{3F3692B3-BCBF-46B2-BE36-9E9229C2EB6C}" presName="linearFlow" presStyleCnt="0">
        <dgm:presLayoutVars>
          <dgm:dir/>
          <dgm:resizeHandles val="exact"/>
        </dgm:presLayoutVars>
      </dgm:prSet>
      <dgm:spPr/>
    </dgm:pt>
    <dgm:pt modelId="{B502AAC8-F1B0-49FF-8154-51F1DE6A5FC1}" type="pres">
      <dgm:prSet presAssocID="{8704EEF8-31BC-483A-9DF1-F9DF3352D699}" presName="composite" presStyleCnt="0"/>
      <dgm:spPr/>
    </dgm:pt>
    <dgm:pt modelId="{E17B80E1-7BAB-4E41-A74B-EC1A9DBAD870}" type="pres">
      <dgm:prSet presAssocID="{8704EEF8-31BC-483A-9DF1-F9DF3352D699}" presName="imgShp" presStyleLbl="fgImgPlace1" presStyleIdx="0" presStyleCnt="5" custScaleX="43914" custScaleY="43913"/>
      <dgm:spPr>
        <a:solidFill>
          <a:srgbClr val="C00000"/>
        </a:solidFill>
        <a:ln>
          <a:solidFill>
            <a:srgbClr val="C00000"/>
          </a:solidFill>
        </a:ln>
      </dgm:spPr>
    </dgm:pt>
    <dgm:pt modelId="{CA317B56-0599-4F56-A0B7-415975366334}" type="pres">
      <dgm:prSet presAssocID="{8704EEF8-31BC-483A-9DF1-F9DF3352D699}" presName="txShp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41F1531-1F86-47AC-9682-8A98E07CB27E}" type="pres">
      <dgm:prSet presAssocID="{8FEDB42F-9C58-414E-AA76-060A2FB456FF}" presName="spacing" presStyleCnt="0"/>
      <dgm:spPr/>
    </dgm:pt>
    <dgm:pt modelId="{A5F20255-A99A-4859-9275-EC1E9396587C}" type="pres">
      <dgm:prSet presAssocID="{0B0EEEB7-3418-4075-80F0-08485E22010A}" presName="composite" presStyleCnt="0"/>
      <dgm:spPr/>
    </dgm:pt>
    <dgm:pt modelId="{185E2DE2-1D5B-4B4D-B945-DFDDF2C33608}" type="pres">
      <dgm:prSet presAssocID="{0B0EEEB7-3418-4075-80F0-08485E22010A}" presName="imgShp" presStyleLbl="fgImgPlace1" presStyleIdx="1" presStyleCnt="5" custScaleX="43914" custScaleY="43913"/>
      <dgm:spPr>
        <a:solidFill>
          <a:schemeClr val="tx2"/>
        </a:solidFill>
        <a:ln>
          <a:solidFill>
            <a:schemeClr val="tx2"/>
          </a:solidFill>
        </a:ln>
      </dgm:spPr>
    </dgm:pt>
    <dgm:pt modelId="{BD7E4BD3-B707-4DAE-862C-B2CCAE37C549}" type="pres">
      <dgm:prSet presAssocID="{0B0EEEB7-3418-4075-80F0-08485E22010A}" presName="txShp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3DB4B76-A7F4-44CC-980A-61F2EC094096}" type="pres">
      <dgm:prSet presAssocID="{0B83E4A4-B25B-4FB2-A90C-765A8A377CB6}" presName="spacing" presStyleCnt="0"/>
      <dgm:spPr/>
    </dgm:pt>
    <dgm:pt modelId="{6A9B6AAF-EB12-48E2-A5F4-9983EEF05B0C}" type="pres">
      <dgm:prSet presAssocID="{00575ACA-C387-4BB4-ADFD-1B2BFC94BEE9}" presName="composite" presStyleCnt="0"/>
      <dgm:spPr/>
    </dgm:pt>
    <dgm:pt modelId="{F13C8B11-2853-4A6E-A433-AAA58C84128B}" type="pres">
      <dgm:prSet presAssocID="{00575ACA-C387-4BB4-ADFD-1B2BFC94BEE9}" presName="imgShp" presStyleLbl="fgImgPlace1" presStyleIdx="2" presStyleCnt="5" custScaleX="43914" custScaleY="43913"/>
      <dgm:spPr>
        <a:solidFill>
          <a:srgbClr val="92D050"/>
        </a:solidFill>
        <a:ln>
          <a:solidFill>
            <a:srgbClr val="92D050"/>
          </a:solidFill>
        </a:ln>
      </dgm:spPr>
    </dgm:pt>
    <dgm:pt modelId="{CC97B532-372C-4341-9F51-4EDF589A5E16}" type="pres">
      <dgm:prSet presAssocID="{00575ACA-C387-4BB4-ADFD-1B2BFC94BEE9}" presName="txShp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C782933-305D-4A66-86EB-142BD8744A28}" type="pres">
      <dgm:prSet presAssocID="{5BD23F4A-F4D7-4701-8FFD-A4CDDFBC6310}" presName="spacing" presStyleCnt="0"/>
      <dgm:spPr/>
    </dgm:pt>
    <dgm:pt modelId="{16C816EF-B28F-4EAF-B312-D0043B8DBD1F}" type="pres">
      <dgm:prSet presAssocID="{B4E9D314-CC87-45D8-AC1A-D37558C878D9}" presName="composite" presStyleCnt="0"/>
      <dgm:spPr/>
    </dgm:pt>
    <dgm:pt modelId="{1406A248-9C69-41E6-8D85-0ED4F0938136}" type="pres">
      <dgm:prSet presAssocID="{B4E9D314-CC87-45D8-AC1A-D37558C878D9}" presName="imgShp" presStyleLbl="fgImgPlace1" presStyleIdx="3" presStyleCnt="5" custScaleX="43914" custScaleY="43913"/>
      <dgm:spPr>
        <a:solidFill>
          <a:schemeClr val="accent1">
            <a:lumMod val="60000"/>
            <a:lumOff val="40000"/>
          </a:schemeClr>
        </a:solidFill>
        <a:ln>
          <a:solidFill>
            <a:schemeClr val="accent1">
              <a:lumMod val="60000"/>
              <a:lumOff val="40000"/>
            </a:schemeClr>
          </a:solidFill>
        </a:ln>
      </dgm:spPr>
    </dgm:pt>
    <dgm:pt modelId="{94F11791-EE9D-458C-9C0D-8C4DF815BFCA}" type="pres">
      <dgm:prSet presAssocID="{B4E9D314-CC87-45D8-AC1A-D37558C878D9}" presName="txShp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C48A2A1-744E-4215-9C21-5D84FCA67219}" type="pres">
      <dgm:prSet presAssocID="{03D8956F-E5AF-4AFB-88CA-6F876F28F876}" presName="spacing" presStyleCnt="0"/>
      <dgm:spPr/>
    </dgm:pt>
    <dgm:pt modelId="{C664E10B-C7A1-4921-9D3A-2CABBD9A32A8}" type="pres">
      <dgm:prSet presAssocID="{A420A148-CD3A-4180-AF7A-590D94CB1CF3}" presName="composite" presStyleCnt="0"/>
      <dgm:spPr/>
    </dgm:pt>
    <dgm:pt modelId="{46B86910-D26B-4F95-9827-3ADC43AE18EE}" type="pres">
      <dgm:prSet presAssocID="{A420A148-CD3A-4180-AF7A-590D94CB1CF3}" presName="imgShp" presStyleLbl="fgImgPlace1" presStyleIdx="4" presStyleCnt="5" custScaleX="43914" custScaleY="43913"/>
      <dgm:spPr>
        <a:solidFill>
          <a:srgbClr val="7030A0"/>
        </a:solidFill>
        <a:ln>
          <a:solidFill>
            <a:srgbClr val="7030A0"/>
          </a:solidFill>
        </a:ln>
      </dgm:spPr>
    </dgm:pt>
    <dgm:pt modelId="{D0FD797F-4E73-4FC3-B01F-0D74CF9244CE}" type="pres">
      <dgm:prSet presAssocID="{A420A148-CD3A-4180-AF7A-590D94CB1CF3}" presName="txShp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61BD237-F8A3-46B8-BCE9-594DC47F02E4}" type="presOf" srcId="{0B0EEEB7-3418-4075-80F0-08485E22010A}" destId="{BD7E4BD3-B707-4DAE-862C-B2CCAE37C549}" srcOrd="0" destOrd="0" presId="urn:microsoft.com/office/officeart/2005/8/layout/vList3"/>
    <dgm:cxn modelId="{CD20AD67-7E4C-4A45-B84D-57BFC1D3C679}" type="presOf" srcId="{B4E9D314-CC87-45D8-AC1A-D37558C878D9}" destId="{94F11791-EE9D-458C-9C0D-8C4DF815BFCA}" srcOrd="0" destOrd="0" presId="urn:microsoft.com/office/officeart/2005/8/layout/vList3"/>
    <dgm:cxn modelId="{753D44EB-733B-4CCB-BF29-25FE421F64CB}" srcId="{3F3692B3-BCBF-46B2-BE36-9E9229C2EB6C}" destId="{00575ACA-C387-4BB4-ADFD-1B2BFC94BEE9}" srcOrd="2" destOrd="0" parTransId="{2C2A25AA-EA06-4583-B533-98D7CC1C1062}" sibTransId="{5BD23F4A-F4D7-4701-8FFD-A4CDDFBC6310}"/>
    <dgm:cxn modelId="{F7A37415-59D4-4B61-87C6-A8F69698C1B8}" type="presOf" srcId="{8704EEF8-31BC-483A-9DF1-F9DF3352D699}" destId="{CA317B56-0599-4F56-A0B7-415975366334}" srcOrd="0" destOrd="0" presId="urn:microsoft.com/office/officeart/2005/8/layout/vList3"/>
    <dgm:cxn modelId="{7018FCF2-5CE7-458F-AC3A-564DE91CFFCA}" type="presOf" srcId="{3F3692B3-BCBF-46B2-BE36-9E9229C2EB6C}" destId="{D3AE978C-494B-41A3-B686-3D9FDCD47707}" srcOrd="0" destOrd="0" presId="urn:microsoft.com/office/officeart/2005/8/layout/vList3"/>
    <dgm:cxn modelId="{54599CB1-4009-47E8-8283-2B9092C68017}" type="presOf" srcId="{00575ACA-C387-4BB4-ADFD-1B2BFC94BEE9}" destId="{CC97B532-372C-4341-9F51-4EDF589A5E16}" srcOrd="0" destOrd="0" presId="urn:microsoft.com/office/officeart/2005/8/layout/vList3"/>
    <dgm:cxn modelId="{5A95059D-51D6-4D3B-9253-BF88A0B01545}" srcId="{3F3692B3-BCBF-46B2-BE36-9E9229C2EB6C}" destId="{0B0EEEB7-3418-4075-80F0-08485E22010A}" srcOrd="1" destOrd="0" parTransId="{D6D65466-D3C7-4E8F-B3B9-C503976F9D61}" sibTransId="{0B83E4A4-B25B-4FB2-A90C-765A8A377CB6}"/>
    <dgm:cxn modelId="{0D95DE93-D19D-4BE7-B85B-3DE51E6BA96B}" srcId="{3F3692B3-BCBF-46B2-BE36-9E9229C2EB6C}" destId="{8704EEF8-31BC-483A-9DF1-F9DF3352D699}" srcOrd="0" destOrd="0" parTransId="{EC6E2AF8-9736-4271-B632-D1A777A5B047}" sibTransId="{8FEDB42F-9C58-414E-AA76-060A2FB456FF}"/>
    <dgm:cxn modelId="{EAABC2E1-BB71-43A3-94A2-BD87E87CF6D5}" srcId="{3F3692B3-BCBF-46B2-BE36-9E9229C2EB6C}" destId="{A420A148-CD3A-4180-AF7A-590D94CB1CF3}" srcOrd="4" destOrd="0" parTransId="{79ADEC20-172C-4238-9319-240D26811FB2}" sibTransId="{906CAEA3-8DCC-4A4A-9197-A36FBA54A00B}"/>
    <dgm:cxn modelId="{C4E54557-7872-465C-96ED-EB0451E8BDD5}" srcId="{3F3692B3-BCBF-46B2-BE36-9E9229C2EB6C}" destId="{B4E9D314-CC87-45D8-AC1A-D37558C878D9}" srcOrd="3" destOrd="0" parTransId="{243235BE-FDF5-4854-AA1B-A678BDA2D8B2}" sibTransId="{03D8956F-E5AF-4AFB-88CA-6F876F28F876}"/>
    <dgm:cxn modelId="{94759FA9-4236-4FAE-80C6-06F4C7F28792}" type="presOf" srcId="{A420A148-CD3A-4180-AF7A-590D94CB1CF3}" destId="{D0FD797F-4E73-4FC3-B01F-0D74CF9244CE}" srcOrd="0" destOrd="0" presId="urn:microsoft.com/office/officeart/2005/8/layout/vList3"/>
    <dgm:cxn modelId="{F302970F-968F-40B2-B080-E203B13480B3}" type="presParOf" srcId="{D3AE978C-494B-41A3-B686-3D9FDCD47707}" destId="{B502AAC8-F1B0-49FF-8154-51F1DE6A5FC1}" srcOrd="0" destOrd="0" presId="urn:microsoft.com/office/officeart/2005/8/layout/vList3"/>
    <dgm:cxn modelId="{F7B78505-7F24-4323-8E33-EA77352C9E05}" type="presParOf" srcId="{B502AAC8-F1B0-49FF-8154-51F1DE6A5FC1}" destId="{E17B80E1-7BAB-4E41-A74B-EC1A9DBAD870}" srcOrd="0" destOrd="0" presId="urn:microsoft.com/office/officeart/2005/8/layout/vList3"/>
    <dgm:cxn modelId="{226656EC-A201-4E4A-9606-2D9B3554D235}" type="presParOf" srcId="{B502AAC8-F1B0-49FF-8154-51F1DE6A5FC1}" destId="{CA317B56-0599-4F56-A0B7-415975366334}" srcOrd="1" destOrd="0" presId="urn:microsoft.com/office/officeart/2005/8/layout/vList3"/>
    <dgm:cxn modelId="{66E509D9-7BB6-42F7-B199-D199235237CA}" type="presParOf" srcId="{D3AE978C-494B-41A3-B686-3D9FDCD47707}" destId="{D41F1531-1F86-47AC-9682-8A98E07CB27E}" srcOrd="1" destOrd="0" presId="urn:microsoft.com/office/officeart/2005/8/layout/vList3"/>
    <dgm:cxn modelId="{E2B26B37-A033-42F7-A696-7C665E75406D}" type="presParOf" srcId="{D3AE978C-494B-41A3-B686-3D9FDCD47707}" destId="{A5F20255-A99A-4859-9275-EC1E9396587C}" srcOrd="2" destOrd="0" presId="urn:microsoft.com/office/officeart/2005/8/layout/vList3"/>
    <dgm:cxn modelId="{1334EB35-4664-469A-AC53-0F2B505F8F51}" type="presParOf" srcId="{A5F20255-A99A-4859-9275-EC1E9396587C}" destId="{185E2DE2-1D5B-4B4D-B945-DFDDF2C33608}" srcOrd="0" destOrd="0" presId="urn:microsoft.com/office/officeart/2005/8/layout/vList3"/>
    <dgm:cxn modelId="{8D612742-FC8F-4C82-BC52-FBE3BA9B4419}" type="presParOf" srcId="{A5F20255-A99A-4859-9275-EC1E9396587C}" destId="{BD7E4BD3-B707-4DAE-862C-B2CCAE37C549}" srcOrd="1" destOrd="0" presId="urn:microsoft.com/office/officeart/2005/8/layout/vList3"/>
    <dgm:cxn modelId="{102AD12E-F89A-4154-BC63-DA937CBFF3A3}" type="presParOf" srcId="{D3AE978C-494B-41A3-B686-3D9FDCD47707}" destId="{13DB4B76-A7F4-44CC-980A-61F2EC094096}" srcOrd="3" destOrd="0" presId="urn:microsoft.com/office/officeart/2005/8/layout/vList3"/>
    <dgm:cxn modelId="{3D3F8968-EC0B-4AE8-917D-55B1BA77C466}" type="presParOf" srcId="{D3AE978C-494B-41A3-B686-3D9FDCD47707}" destId="{6A9B6AAF-EB12-48E2-A5F4-9983EEF05B0C}" srcOrd="4" destOrd="0" presId="urn:microsoft.com/office/officeart/2005/8/layout/vList3"/>
    <dgm:cxn modelId="{D6E3D869-F9FF-45D8-A46A-47727403FDA2}" type="presParOf" srcId="{6A9B6AAF-EB12-48E2-A5F4-9983EEF05B0C}" destId="{F13C8B11-2853-4A6E-A433-AAA58C84128B}" srcOrd="0" destOrd="0" presId="urn:microsoft.com/office/officeart/2005/8/layout/vList3"/>
    <dgm:cxn modelId="{FD40843E-58BE-4F96-98B4-69646B728831}" type="presParOf" srcId="{6A9B6AAF-EB12-48E2-A5F4-9983EEF05B0C}" destId="{CC97B532-372C-4341-9F51-4EDF589A5E16}" srcOrd="1" destOrd="0" presId="urn:microsoft.com/office/officeart/2005/8/layout/vList3"/>
    <dgm:cxn modelId="{E21AAF7F-041E-449E-BD19-E970B02B4257}" type="presParOf" srcId="{D3AE978C-494B-41A3-B686-3D9FDCD47707}" destId="{3C782933-305D-4A66-86EB-142BD8744A28}" srcOrd="5" destOrd="0" presId="urn:microsoft.com/office/officeart/2005/8/layout/vList3"/>
    <dgm:cxn modelId="{9CB87080-4FC4-4822-9573-C119BD95DCA6}" type="presParOf" srcId="{D3AE978C-494B-41A3-B686-3D9FDCD47707}" destId="{16C816EF-B28F-4EAF-B312-D0043B8DBD1F}" srcOrd="6" destOrd="0" presId="urn:microsoft.com/office/officeart/2005/8/layout/vList3"/>
    <dgm:cxn modelId="{886B37FF-8318-4740-99DD-FB3E898FC478}" type="presParOf" srcId="{16C816EF-B28F-4EAF-B312-D0043B8DBD1F}" destId="{1406A248-9C69-41E6-8D85-0ED4F0938136}" srcOrd="0" destOrd="0" presId="urn:microsoft.com/office/officeart/2005/8/layout/vList3"/>
    <dgm:cxn modelId="{7C18BD20-FBBE-4FD6-A2EB-0FC68B5B3B36}" type="presParOf" srcId="{16C816EF-B28F-4EAF-B312-D0043B8DBD1F}" destId="{94F11791-EE9D-458C-9C0D-8C4DF815BFCA}" srcOrd="1" destOrd="0" presId="urn:microsoft.com/office/officeart/2005/8/layout/vList3"/>
    <dgm:cxn modelId="{6C997822-95FC-4B57-9495-0FF05AE928C9}" type="presParOf" srcId="{D3AE978C-494B-41A3-B686-3D9FDCD47707}" destId="{AC48A2A1-744E-4215-9C21-5D84FCA67219}" srcOrd="7" destOrd="0" presId="urn:microsoft.com/office/officeart/2005/8/layout/vList3"/>
    <dgm:cxn modelId="{42F9FA1D-1D33-40EE-AE96-007B01D572CA}" type="presParOf" srcId="{D3AE978C-494B-41A3-B686-3D9FDCD47707}" destId="{C664E10B-C7A1-4921-9D3A-2CABBD9A32A8}" srcOrd="8" destOrd="0" presId="urn:microsoft.com/office/officeart/2005/8/layout/vList3"/>
    <dgm:cxn modelId="{A492B8A1-6D32-4A7A-81FB-ED0B4D9CB22D}" type="presParOf" srcId="{C664E10B-C7A1-4921-9D3A-2CABBD9A32A8}" destId="{46B86910-D26B-4F95-9827-3ADC43AE18EE}" srcOrd="0" destOrd="0" presId="urn:microsoft.com/office/officeart/2005/8/layout/vList3"/>
    <dgm:cxn modelId="{ABD9E559-171A-4801-A53B-1935BCE1F3BF}" type="presParOf" srcId="{C664E10B-C7A1-4921-9D3A-2CABBD9A32A8}" destId="{D0FD797F-4E73-4FC3-B01F-0D74CF9244CE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57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3F3692B3-BCBF-46B2-BE36-9E9229C2EB6C}" type="doc">
      <dgm:prSet loTypeId="urn:microsoft.com/office/officeart/2005/8/layout/vList3" loCatId="list" qsTypeId="urn:microsoft.com/office/officeart/2005/8/quickstyle/simple1" qsCatId="simple" csTypeId="urn:microsoft.com/office/officeart/2005/8/colors/colorful3" csCatId="colorful" phldr="1"/>
      <dgm:spPr/>
    </dgm:pt>
    <dgm:pt modelId="{8704EEF8-31BC-483A-9DF1-F9DF3352D69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2467,11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EC6E2AF8-9736-4271-B632-D1A777A5B047}" type="parTrans" cxnId="{0D95DE93-D19D-4BE7-B85B-3DE51E6BA96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8FEDB42F-9C58-414E-AA76-060A2FB456FF}" type="sibTrans" cxnId="{0D95DE93-D19D-4BE7-B85B-3DE51E6BA96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B0EEEB7-3418-4075-80F0-08485E22010A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25,0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D6D65466-D3C7-4E8F-B3B9-C503976F9D61}" type="parTrans" cxnId="{5A95059D-51D6-4D3B-9253-BF88A0B0154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B83E4A4-B25B-4FB2-A90C-765A8A377CB6}" type="sibTrans" cxnId="{5A95059D-51D6-4D3B-9253-BF88A0B0154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0575ACA-C387-4BB4-ADFD-1B2BFC94BEE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19,84 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2C2A25AA-EA06-4583-B533-98D7CC1C1062}" type="parTrans" cxnId="{753D44EB-733B-4CCB-BF29-25FE421F64C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5BD23F4A-F4D7-4701-8FFD-A4CDDFBC6310}" type="sibTrans" cxnId="{753D44EB-733B-4CCB-BF29-25FE421F64C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A420A148-CD3A-4180-AF7A-590D94CB1CF3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4,15 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79ADEC20-172C-4238-9319-240D26811FB2}" type="parTrans" cxnId="{EAABC2E1-BB71-43A3-94A2-BD87E87CF6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906CAEA3-8DCC-4A4A-9197-A36FBA54A00B}" type="sibTrans" cxnId="{EAABC2E1-BB71-43A3-94A2-BD87E87CF6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B4E9D314-CC87-45D8-AC1A-D37558C878D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5,82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243235BE-FDF5-4854-AA1B-A678BDA2D8B2}" type="parTrans" cxnId="{C4E54557-7872-465C-96ED-EB0451E8BD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3D8956F-E5AF-4AFB-88CA-6F876F28F876}" type="sibTrans" cxnId="{C4E54557-7872-465C-96ED-EB0451E8BD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D3AE978C-494B-41A3-B686-3D9FDCD47707}" type="pres">
      <dgm:prSet presAssocID="{3F3692B3-BCBF-46B2-BE36-9E9229C2EB6C}" presName="linearFlow" presStyleCnt="0">
        <dgm:presLayoutVars>
          <dgm:dir/>
          <dgm:resizeHandles val="exact"/>
        </dgm:presLayoutVars>
      </dgm:prSet>
      <dgm:spPr/>
    </dgm:pt>
    <dgm:pt modelId="{B502AAC8-F1B0-49FF-8154-51F1DE6A5FC1}" type="pres">
      <dgm:prSet presAssocID="{8704EEF8-31BC-483A-9DF1-F9DF3352D699}" presName="composite" presStyleCnt="0"/>
      <dgm:spPr/>
    </dgm:pt>
    <dgm:pt modelId="{E17B80E1-7BAB-4E41-A74B-EC1A9DBAD870}" type="pres">
      <dgm:prSet presAssocID="{8704EEF8-31BC-483A-9DF1-F9DF3352D699}" presName="imgShp" presStyleLbl="fgImgPlace1" presStyleIdx="0" presStyleCnt="5" custScaleX="43914" custScaleY="43913"/>
      <dgm:spPr>
        <a:solidFill>
          <a:srgbClr val="C00000"/>
        </a:solidFill>
        <a:ln>
          <a:solidFill>
            <a:srgbClr val="C00000"/>
          </a:solidFill>
        </a:ln>
      </dgm:spPr>
    </dgm:pt>
    <dgm:pt modelId="{CA317B56-0599-4F56-A0B7-415975366334}" type="pres">
      <dgm:prSet presAssocID="{8704EEF8-31BC-483A-9DF1-F9DF3352D699}" presName="txShp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41F1531-1F86-47AC-9682-8A98E07CB27E}" type="pres">
      <dgm:prSet presAssocID="{8FEDB42F-9C58-414E-AA76-060A2FB456FF}" presName="spacing" presStyleCnt="0"/>
      <dgm:spPr/>
    </dgm:pt>
    <dgm:pt modelId="{A5F20255-A99A-4859-9275-EC1E9396587C}" type="pres">
      <dgm:prSet presAssocID="{0B0EEEB7-3418-4075-80F0-08485E22010A}" presName="composite" presStyleCnt="0"/>
      <dgm:spPr/>
    </dgm:pt>
    <dgm:pt modelId="{185E2DE2-1D5B-4B4D-B945-DFDDF2C33608}" type="pres">
      <dgm:prSet presAssocID="{0B0EEEB7-3418-4075-80F0-08485E22010A}" presName="imgShp" presStyleLbl="fgImgPlace1" presStyleIdx="1" presStyleCnt="5" custScaleX="43914" custScaleY="43913"/>
      <dgm:spPr>
        <a:solidFill>
          <a:schemeClr val="tx2"/>
        </a:solidFill>
        <a:ln>
          <a:solidFill>
            <a:schemeClr val="tx2"/>
          </a:solidFill>
        </a:ln>
      </dgm:spPr>
    </dgm:pt>
    <dgm:pt modelId="{BD7E4BD3-B707-4DAE-862C-B2CCAE37C549}" type="pres">
      <dgm:prSet presAssocID="{0B0EEEB7-3418-4075-80F0-08485E22010A}" presName="txShp" presStyleLbl="node1" presStyleIdx="1" presStyleCnt="5" custLinFactNeighborX="-1423" custLinFactNeighborY="196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3DB4B76-A7F4-44CC-980A-61F2EC094096}" type="pres">
      <dgm:prSet presAssocID="{0B83E4A4-B25B-4FB2-A90C-765A8A377CB6}" presName="spacing" presStyleCnt="0"/>
      <dgm:spPr/>
    </dgm:pt>
    <dgm:pt modelId="{6A9B6AAF-EB12-48E2-A5F4-9983EEF05B0C}" type="pres">
      <dgm:prSet presAssocID="{00575ACA-C387-4BB4-ADFD-1B2BFC94BEE9}" presName="composite" presStyleCnt="0"/>
      <dgm:spPr/>
    </dgm:pt>
    <dgm:pt modelId="{F13C8B11-2853-4A6E-A433-AAA58C84128B}" type="pres">
      <dgm:prSet presAssocID="{00575ACA-C387-4BB4-ADFD-1B2BFC94BEE9}" presName="imgShp" presStyleLbl="fgImgPlace1" presStyleIdx="2" presStyleCnt="5" custScaleX="43914" custScaleY="43913"/>
      <dgm:spPr>
        <a:solidFill>
          <a:srgbClr val="92D050"/>
        </a:solidFill>
        <a:ln>
          <a:solidFill>
            <a:srgbClr val="92D050"/>
          </a:solidFill>
        </a:ln>
      </dgm:spPr>
    </dgm:pt>
    <dgm:pt modelId="{CC97B532-372C-4341-9F51-4EDF589A5E16}" type="pres">
      <dgm:prSet presAssocID="{00575ACA-C387-4BB4-ADFD-1B2BFC94BEE9}" presName="txShp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C782933-305D-4A66-86EB-142BD8744A28}" type="pres">
      <dgm:prSet presAssocID="{5BD23F4A-F4D7-4701-8FFD-A4CDDFBC6310}" presName="spacing" presStyleCnt="0"/>
      <dgm:spPr/>
    </dgm:pt>
    <dgm:pt modelId="{16C816EF-B28F-4EAF-B312-D0043B8DBD1F}" type="pres">
      <dgm:prSet presAssocID="{B4E9D314-CC87-45D8-AC1A-D37558C878D9}" presName="composite" presStyleCnt="0"/>
      <dgm:spPr/>
    </dgm:pt>
    <dgm:pt modelId="{1406A248-9C69-41E6-8D85-0ED4F0938136}" type="pres">
      <dgm:prSet presAssocID="{B4E9D314-CC87-45D8-AC1A-D37558C878D9}" presName="imgShp" presStyleLbl="fgImgPlace1" presStyleIdx="3" presStyleCnt="5" custScaleX="43914" custScaleY="43913"/>
      <dgm:spPr>
        <a:solidFill>
          <a:schemeClr val="accent1">
            <a:lumMod val="60000"/>
            <a:lumOff val="40000"/>
          </a:schemeClr>
        </a:solidFill>
        <a:ln>
          <a:solidFill>
            <a:schemeClr val="accent1">
              <a:lumMod val="60000"/>
              <a:lumOff val="40000"/>
            </a:schemeClr>
          </a:solidFill>
        </a:ln>
      </dgm:spPr>
    </dgm:pt>
    <dgm:pt modelId="{94F11791-EE9D-458C-9C0D-8C4DF815BFCA}" type="pres">
      <dgm:prSet presAssocID="{B4E9D314-CC87-45D8-AC1A-D37558C878D9}" presName="txShp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C48A2A1-744E-4215-9C21-5D84FCA67219}" type="pres">
      <dgm:prSet presAssocID="{03D8956F-E5AF-4AFB-88CA-6F876F28F876}" presName="spacing" presStyleCnt="0"/>
      <dgm:spPr/>
    </dgm:pt>
    <dgm:pt modelId="{C664E10B-C7A1-4921-9D3A-2CABBD9A32A8}" type="pres">
      <dgm:prSet presAssocID="{A420A148-CD3A-4180-AF7A-590D94CB1CF3}" presName="composite" presStyleCnt="0"/>
      <dgm:spPr/>
    </dgm:pt>
    <dgm:pt modelId="{46B86910-D26B-4F95-9827-3ADC43AE18EE}" type="pres">
      <dgm:prSet presAssocID="{A420A148-CD3A-4180-AF7A-590D94CB1CF3}" presName="imgShp" presStyleLbl="fgImgPlace1" presStyleIdx="4" presStyleCnt="5" custScaleX="43914" custScaleY="43913"/>
      <dgm:spPr>
        <a:solidFill>
          <a:srgbClr val="7030A0"/>
        </a:solidFill>
        <a:ln>
          <a:solidFill>
            <a:srgbClr val="7030A0"/>
          </a:solidFill>
        </a:ln>
      </dgm:spPr>
    </dgm:pt>
    <dgm:pt modelId="{D0FD797F-4E73-4FC3-B01F-0D74CF9244CE}" type="pres">
      <dgm:prSet presAssocID="{A420A148-CD3A-4180-AF7A-590D94CB1CF3}" presName="txShp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8340270-A718-47D2-9888-73FAD710A31C}" type="presOf" srcId="{00575ACA-C387-4BB4-ADFD-1B2BFC94BEE9}" destId="{CC97B532-372C-4341-9F51-4EDF589A5E16}" srcOrd="0" destOrd="0" presId="urn:microsoft.com/office/officeart/2005/8/layout/vList3"/>
    <dgm:cxn modelId="{753D44EB-733B-4CCB-BF29-25FE421F64CB}" srcId="{3F3692B3-BCBF-46B2-BE36-9E9229C2EB6C}" destId="{00575ACA-C387-4BB4-ADFD-1B2BFC94BEE9}" srcOrd="2" destOrd="0" parTransId="{2C2A25AA-EA06-4583-B533-98D7CC1C1062}" sibTransId="{5BD23F4A-F4D7-4701-8FFD-A4CDDFBC6310}"/>
    <dgm:cxn modelId="{E4CCE4B8-B7D2-4AF1-8B01-ECAA4F0A1108}" type="presOf" srcId="{8704EEF8-31BC-483A-9DF1-F9DF3352D699}" destId="{CA317B56-0599-4F56-A0B7-415975366334}" srcOrd="0" destOrd="0" presId="urn:microsoft.com/office/officeart/2005/8/layout/vList3"/>
    <dgm:cxn modelId="{5A95059D-51D6-4D3B-9253-BF88A0B01545}" srcId="{3F3692B3-BCBF-46B2-BE36-9E9229C2EB6C}" destId="{0B0EEEB7-3418-4075-80F0-08485E22010A}" srcOrd="1" destOrd="0" parTransId="{D6D65466-D3C7-4E8F-B3B9-C503976F9D61}" sibTransId="{0B83E4A4-B25B-4FB2-A90C-765A8A377CB6}"/>
    <dgm:cxn modelId="{0D95DE93-D19D-4BE7-B85B-3DE51E6BA96B}" srcId="{3F3692B3-BCBF-46B2-BE36-9E9229C2EB6C}" destId="{8704EEF8-31BC-483A-9DF1-F9DF3352D699}" srcOrd="0" destOrd="0" parTransId="{EC6E2AF8-9736-4271-B632-D1A777A5B047}" sibTransId="{8FEDB42F-9C58-414E-AA76-060A2FB456FF}"/>
    <dgm:cxn modelId="{EAABC2E1-BB71-43A3-94A2-BD87E87CF6D5}" srcId="{3F3692B3-BCBF-46B2-BE36-9E9229C2EB6C}" destId="{A420A148-CD3A-4180-AF7A-590D94CB1CF3}" srcOrd="4" destOrd="0" parTransId="{79ADEC20-172C-4238-9319-240D26811FB2}" sibTransId="{906CAEA3-8DCC-4A4A-9197-A36FBA54A00B}"/>
    <dgm:cxn modelId="{27A35318-B405-47E6-A0AA-67610BAC7F7D}" type="presOf" srcId="{0B0EEEB7-3418-4075-80F0-08485E22010A}" destId="{BD7E4BD3-B707-4DAE-862C-B2CCAE37C549}" srcOrd="0" destOrd="0" presId="urn:microsoft.com/office/officeart/2005/8/layout/vList3"/>
    <dgm:cxn modelId="{4CE530CB-7DA1-430B-AA37-E5E8A125B45E}" type="presOf" srcId="{3F3692B3-BCBF-46B2-BE36-9E9229C2EB6C}" destId="{D3AE978C-494B-41A3-B686-3D9FDCD47707}" srcOrd="0" destOrd="0" presId="urn:microsoft.com/office/officeart/2005/8/layout/vList3"/>
    <dgm:cxn modelId="{C4E54557-7872-465C-96ED-EB0451E8BDD5}" srcId="{3F3692B3-BCBF-46B2-BE36-9E9229C2EB6C}" destId="{B4E9D314-CC87-45D8-AC1A-D37558C878D9}" srcOrd="3" destOrd="0" parTransId="{243235BE-FDF5-4854-AA1B-A678BDA2D8B2}" sibTransId="{03D8956F-E5AF-4AFB-88CA-6F876F28F876}"/>
    <dgm:cxn modelId="{4BA2B0A3-73AA-4ED0-BF7A-768B3634F575}" type="presOf" srcId="{A420A148-CD3A-4180-AF7A-590D94CB1CF3}" destId="{D0FD797F-4E73-4FC3-B01F-0D74CF9244CE}" srcOrd="0" destOrd="0" presId="urn:microsoft.com/office/officeart/2005/8/layout/vList3"/>
    <dgm:cxn modelId="{5A49921C-670B-4321-A1B3-41123BE33C10}" type="presOf" srcId="{B4E9D314-CC87-45D8-AC1A-D37558C878D9}" destId="{94F11791-EE9D-458C-9C0D-8C4DF815BFCA}" srcOrd="0" destOrd="0" presId="urn:microsoft.com/office/officeart/2005/8/layout/vList3"/>
    <dgm:cxn modelId="{D864ACB2-4929-4E9E-83DA-30F6D1E6A020}" type="presParOf" srcId="{D3AE978C-494B-41A3-B686-3D9FDCD47707}" destId="{B502AAC8-F1B0-49FF-8154-51F1DE6A5FC1}" srcOrd="0" destOrd="0" presId="urn:microsoft.com/office/officeart/2005/8/layout/vList3"/>
    <dgm:cxn modelId="{C9235F93-0351-4FEE-A8FF-3F0A3C85A441}" type="presParOf" srcId="{B502AAC8-F1B0-49FF-8154-51F1DE6A5FC1}" destId="{E17B80E1-7BAB-4E41-A74B-EC1A9DBAD870}" srcOrd="0" destOrd="0" presId="urn:microsoft.com/office/officeart/2005/8/layout/vList3"/>
    <dgm:cxn modelId="{A7E1CA11-9C4A-4524-A173-993D63F4C595}" type="presParOf" srcId="{B502AAC8-F1B0-49FF-8154-51F1DE6A5FC1}" destId="{CA317B56-0599-4F56-A0B7-415975366334}" srcOrd="1" destOrd="0" presId="urn:microsoft.com/office/officeart/2005/8/layout/vList3"/>
    <dgm:cxn modelId="{E910DBED-19DF-487C-B52D-DF0E3F68065E}" type="presParOf" srcId="{D3AE978C-494B-41A3-B686-3D9FDCD47707}" destId="{D41F1531-1F86-47AC-9682-8A98E07CB27E}" srcOrd="1" destOrd="0" presId="urn:microsoft.com/office/officeart/2005/8/layout/vList3"/>
    <dgm:cxn modelId="{86CCC99D-1984-48C8-ADCA-E1EA3A324C18}" type="presParOf" srcId="{D3AE978C-494B-41A3-B686-3D9FDCD47707}" destId="{A5F20255-A99A-4859-9275-EC1E9396587C}" srcOrd="2" destOrd="0" presId="urn:microsoft.com/office/officeart/2005/8/layout/vList3"/>
    <dgm:cxn modelId="{F6F621D2-0923-4E9E-B4CE-B687780FB13E}" type="presParOf" srcId="{A5F20255-A99A-4859-9275-EC1E9396587C}" destId="{185E2DE2-1D5B-4B4D-B945-DFDDF2C33608}" srcOrd="0" destOrd="0" presId="urn:microsoft.com/office/officeart/2005/8/layout/vList3"/>
    <dgm:cxn modelId="{5F1770FE-50FE-48EA-BCF7-05E4D9D18B25}" type="presParOf" srcId="{A5F20255-A99A-4859-9275-EC1E9396587C}" destId="{BD7E4BD3-B707-4DAE-862C-B2CCAE37C549}" srcOrd="1" destOrd="0" presId="urn:microsoft.com/office/officeart/2005/8/layout/vList3"/>
    <dgm:cxn modelId="{54264684-C678-4B7A-A117-94DD8E692AC8}" type="presParOf" srcId="{D3AE978C-494B-41A3-B686-3D9FDCD47707}" destId="{13DB4B76-A7F4-44CC-980A-61F2EC094096}" srcOrd="3" destOrd="0" presId="urn:microsoft.com/office/officeart/2005/8/layout/vList3"/>
    <dgm:cxn modelId="{E9DDC0A0-4E53-40D3-BDA1-C92D983F7CCB}" type="presParOf" srcId="{D3AE978C-494B-41A3-B686-3D9FDCD47707}" destId="{6A9B6AAF-EB12-48E2-A5F4-9983EEF05B0C}" srcOrd="4" destOrd="0" presId="urn:microsoft.com/office/officeart/2005/8/layout/vList3"/>
    <dgm:cxn modelId="{A25024B3-0E2D-4756-842D-67E0AFF74C4B}" type="presParOf" srcId="{6A9B6AAF-EB12-48E2-A5F4-9983EEF05B0C}" destId="{F13C8B11-2853-4A6E-A433-AAA58C84128B}" srcOrd="0" destOrd="0" presId="urn:microsoft.com/office/officeart/2005/8/layout/vList3"/>
    <dgm:cxn modelId="{2DED7E95-B997-49C1-97FF-2DDB18380B50}" type="presParOf" srcId="{6A9B6AAF-EB12-48E2-A5F4-9983EEF05B0C}" destId="{CC97B532-372C-4341-9F51-4EDF589A5E16}" srcOrd="1" destOrd="0" presId="urn:microsoft.com/office/officeart/2005/8/layout/vList3"/>
    <dgm:cxn modelId="{A776DB19-F802-43AD-A137-45923029AE36}" type="presParOf" srcId="{D3AE978C-494B-41A3-B686-3D9FDCD47707}" destId="{3C782933-305D-4A66-86EB-142BD8744A28}" srcOrd="5" destOrd="0" presId="urn:microsoft.com/office/officeart/2005/8/layout/vList3"/>
    <dgm:cxn modelId="{DA1A0ABC-F0B6-4EF4-B571-CB999DAA615D}" type="presParOf" srcId="{D3AE978C-494B-41A3-B686-3D9FDCD47707}" destId="{16C816EF-B28F-4EAF-B312-D0043B8DBD1F}" srcOrd="6" destOrd="0" presId="urn:microsoft.com/office/officeart/2005/8/layout/vList3"/>
    <dgm:cxn modelId="{46E7D14E-E4D2-4F26-8309-938C1AA77E4D}" type="presParOf" srcId="{16C816EF-B28F-4EAF-B312-D0043B8DBD1F}" destId="{1406A248-9C69-41E6-8D85-0ED4F0938136}" srcOrd="0" destOrd="0" presId="urn:microsoft.com/office/officeart/2005/8/layout/vList3"/>
    <dgm:cxn modelId="{04D27CC4-B77A-4BD5-A19E-4ABF3A8AE00B}" type="presParOf" srcId="{16C816EF-B28F-4EAF-B312-D0043B8DBD1F}" destId="{94F11791-EE9D-458C-9C0D-8C4DF815BFCA}" srcOrd="1" destOrd="0" presId="urn:microsoft.com/office/officeart/2005/8/layout/vList3"/>
    <dgm:cxn modelId="{7083967B-EEE8-4543-90F5-E02D6DF0082E}" type="presParOf" srcId="{D3AE978C-494B-41A3-B686-3D9FDCD47707}" destId="{AC48A2A1-744E-4215-9C21-5D84FCA67219}" srcOrd="7" destOrd="0" presId="urn:microsoft.com/office/officeart/2005/8/layout/vList3"/>
    <dgm:cxn modelId="{64D7CE30-E5EC-4856-B44C-715D4F39E3CB}" type="presParOf" srcId="{D3AE978C-494B-41A3-B686-3D9FDCD47707}" destId="{C664E10B-C7A1-4921-9D3A-2CABBD9A32A8}" srcOrd="8" destOrd="0" presId="urn:microsoft.com/office/officeart/2005/8/layout/vList3"/>
    <dgm:cxn modelId="{9142D155-1943-4B29-9341-369989477D37}" type="presParOf" srcId="{C664E10B-C7A1-4921-9D3A-2CABBD9A32A8}" destId="{46B86910-D26B-4F95-9827-3ADC43AE18EE}" srcOrd="0" destOrd="0" presId="urn:microsoft.com/office/officeart/2005/8/layout/vList3"/>
    <dgm:cxn modelId="{468362FC-BBF8-4E68-B440-0D452169C3EE}" type="presParOf" srcId="{C664E10B-C7A1-4921-9D3A-2CABBD9A32A8}" destId="{D0FD797F-4E73-4FC3-B01F-0D74CF9244CE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2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3F3692B3-BCBF-46B2-BE36-9E9229C2EB6C}" type="doc">
      <dgm:prSet loTypeId="urn:microsoft.com/office/officeart/2005/8/layout/vList3" loCatId="list" qsTypeId="urn:microsoft.com/office/officeart/2005/8/quickstyle/simple1" qsCatId="simple" csTypeId="urn:microsoft.com/office/officeart/2005/8/colors/colorful3" csCatId="colorful" phldr="1"/>
      <dgm:spPr/>
    </dgm:pt>
    <dgm:pt modelId="{8704EEF8-31BC-483A-9DF1-F9DF3352D69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2989,7 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EC6E2AF8-9736-4271-B632-D1A777A5B047}" type="parTrans" cxnId="{0D95DE93-D19D-4BE7-B85B-3DE51E6BA96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8FEDB42F-9C58-414E-AA76-060A2FB456FF}" type="sibTrans" cxnId="{0D95DE93-D19D-4BE7-B85B-3DE51E6BA96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B0EEEB7-3418-4075-80F0-08485E22010A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49,35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D6D65466-D3C7-4E8F-B3B9-C503976F9D61}" type="parTrans" cxnId="{5A95059D-51D6-4D3B-9253-BF88A0B0154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B83E4A4-B25B-4FB2-A90C-765A8A377CB6}" type="sibTrans" cxnId="{5A95059D-51D6-4D3B-9253-BF88A0B0154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0575ACA-C387-4BB4-ADFD-1B2BFC94BEE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25,16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2C2A25AA-EA06-4583-B533-98D7CC1C1062}" type="parTrans" cxnId="{753D44EB-733B-4CCB-BF29-25FE421F64C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5BD23F4A-F4D7-4701-8FFD-A4CDDFBC6310}" type="sibTrans" cxnId="{753D44EB-733B-4CCB-BF29-25FE421F64C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A420A148-CD3A-4180-AF7A-590D94CB1CF3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4,15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79ADEC20-172C-4238-9319-240D26811FB2}" type="parTrans" cxnId="{EAABC2E1-BB71-43A3-94A2-BD87E87CF6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906CAEA3-8DCC-4A4A-9197-A36FBA54A00B}" type="sibTrans" cxnId="{EAABC2E1-BB71-43A3-94A2-BD87E87CF6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B4E9D314-CC87-45D8-AC1A-D37558C878D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5,87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243235BE-FDF5-4854-AA1B-A678BDA2D8B2}" type="parTrans" cxnId="{C4E54557-7872-465C-96ED-EB0451E8BD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3D8956F-E5AF-4AFB-88CA-6F876F28F876}" type="sibTrans" cxnId="{C4E54557-7872-465C-96ED-EB0451E8BD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D3AE978C-494B-41A3-B686-3D9FDCD47707}" type="pres">
      <dgm:prSet presAssocID="{3F3692B3-BCBF-46B2-BE36-9E9229C2EB6C}" presName="linearFlow" presStyleCnt="0">
        <dgm:presLayoutVars>
          <dgm:dir/>
          <dgm:resizeHandles val="exact"/>
        </dgm:presLayoutVars>
      </dgm:prSet>
      <dgm:spPr/>
    </dgm:pt>
    <dgm:pt modelId="{B502AAC8-F1B0-49FF-8154-51F1DE6A5FC1}" type="pres">
      <dgm:prSet presAssocID="{8704EEF8-31BC-483A-9DF1-F9DF3352D699}" presName="composite" presStyleCnt="0"/>
      <dgm:spPr/>
    </dgm:pt>
    <dgm:pt modelId="{E17B80E1-7BAB-4E41-A74B-EC1A9DBAD870}" type="pres">
      <dgm:prSet presAssocID="{8704EEF8-31BC-483A-9DF1-F9DF3352D699}" presName="imgShp" presStyleLbl="fgImgPlace1" presStyleIdx="0" presStyleCnt="5" custScaleX="43914" custScaleY="43913"/>
      <dgm:spPr>
        <a:solidFill>
          <a:srgbClr val="C00000"/>
        </a:solidFill>
        <a:ln>
          <a:solidFill>
            <a:srgbClr val="C00000"/>
          </a:solidFill>
        </a:ln>
      </dgm:spPr>
    </dgm:pt>
    <dgm:pt modelId="{CA317B56-0599-4F56-A0B7-415975366334}" type="pres">
      <dgm:prSet presAssocID="{8704EEF8-31BC-483A-9DF1-F9DF3352D699}" presName="txShp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41F1531-1F86-47AC-9682-8A98E07CB27E}" type="pres">
      <dgm:prSet presAssocID="{8FEDB42F-9C58-414E-AA76-060A2FB456FF}" presName="spacing" presStyleCnt="0"/>
      <dgm:spPr/>
    </dgm:pt>
    <dgm:pt modelId="{A5F20255-A99A-4859-9275-EC1E9396587C}" type="pres">
      <dgm:prSet presAssocID="{0B0EEEB7-3418-4075-80F0-08485E22010A}" presName="composite" presStyleCnt="0"/>
      <dgm:spPr/>
    </dgm:pt>
    <dgm:pt modelId="{185E2DE2-1D5B-4B4D-B945-DFDDF2C33608}" type="pres">
      <dgm:prSet presAssocID="{0B0EEEB7-3418-4075-80F0-08485E22010A}" presName="imgShp" presStyleLbl="fgImgPlace1" presStyleIdx="1" presStyleCnt="5" custScaleX="43914" custScaleY="43913"/>
      <dgm:spPr>
        <a:solidFill>
          <a:schemeClr val="tx2"/>
        </a:solidFill>
        <a:ln>
          <a:solidFill>
            <a:schemeClr val="tx2"/>
          </a:solidFill>
        </a:ln>
      </dgm:spPr>
    </dgm:pt>
    <dgm:pt modelId="{BD7E4BD3-B707-4DAE-862C-B2CCAE37C549}" type="pres">
      <dgm:prSet presAssocID="{0B0EEEB7-3418-4075-80F0-08485E22010A}" presName="txShp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3DB4B76-A7F4-44CC-980A-61F2EC094096}" type="pres">
      <dgm:prSet presAssocID="{0B83E4A4-B25B-4FB2-A90C-765A8A377CB6}" presName="spacing" presStyleCnt="0"/>
      <dgm:spPr/>
    </dgm:pt>
    <dgm:pt modelId="{6A9B6AAF-EB12-48E2-A5F4-9983EEF05B0C}" type="pres">
      <dgm:prSet presAssocID="{00575ACA-C387-4BB4-ADFD-1B2BFC94BEE9}" presName="composite" presStyleCnt="0"/>
      <dgm:spPr/>
    </dgm:pt>
    <dgm:pt modelId="{F13C8B11-2853-4A6E-A433-AAA58C84128B}" type="pres">
      <dgm:prSet presAssocID="{00575ACA-C387-4BB4-ADFD-1B2BFC94BEE9}" presName="imgShp" presStyleLbl="fgImgPlace1" presStyleIdx="2" presStyleCnt="5" custScaleX="43914" custScaleY="43913"/>
      <dgm:spPr>
        <a:solidFill>
          <a:srgbClr val="92D050"/>
        </a:solidFill>
        <a:ln>
          <a:solidFill>
            <a:srgbClr val="92D050"/>
          </a:solidFill>
        </a:ln>
      </dgm:spPr>
    </dgm:pt>
    <dgm:pt modelId="{CC97B532-372C-4341-9F51-4EDF589A5E16}" type="pres">
      <dgm:prSet presAssocID="{00575ACA-C387-4BB4-ADFD-1B2BFC94BEE9}" presName="txShp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C782933-305D-4A66-86EB-142BD8744A28}" type="pres">
      <dgm:prSet presAssocID="{5BD23F4A-F4D7-4701-8FFD-A4CDDFBC6310}" presName="spacing" presStyleCnt="0"/>
      <dgm:spPr/>
    </dgm:pt>
    <dgm:pt modelId="{16C816EF-B28F-4EAF-B312-D0043B8DBD1F}" type="pres">
      <dgm:prSet presAssocID="{B4E9D314-CC87-45D8-AC1A-D37558C878D9}" presName="composite" presStyleCnt="0"/>
      <dgm:spPr/>
    </dgm:pt>
    <dgm:pt modelId="{1406A248-9C69-41E6-8D85-0ED4F0938136}" type="pres">
      <dgm:prSet presAssocID="{B4E9D314-CC87-45D8-AC1A-D37558C878D9}" presName="imgShp" presStyleLbl="fgImgPlace1" presStyleIdx="3" presStyleCnt="5" custScaleX="43914" custScaleY="43913"/>
      <dgm:spPr>
        <a:solidFill>
          <a:schemeClr val="accent1">
            <a:lumMod val="60000"/>
            <a:lumOff val="40000"/>
          </a:schemeClr>
        </a:solidFill>
        <a:ln>
          <a:solidFill>
            <a:schemeClr val="accent1">
              <a:lumMod val="60000"/>
              <a:lumOff val="40000"/>
            </a:schemeClr>
          </a:solidFill>
        </a:ln>
      </dgm:spPr>
    </dgm:pt>
    <dgm:pt modelId="{94F11791-EE9D-458C-9C0D-8C4DF815BFCA}" type="pres">
      <dgm:prSet presAssocID="{B4E9D314-CC87-45D8-AC1A-D37558C878D9}" presName="txShp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C48A2A1-744E-4215-9C21-5D84FCA67219}" type="pres">
      <dgm:prSet presAssocID="{03D8956F-E5AF-4AFB-88CA-6F876F28F876}" presName="spacing" presStyleCnt="0"/>
      <dgm:spPr/>
    </dgm:pt>
    <dgm:pt modelId="{C664E10B-C7A1-4921-9D3A-2CABBD9A32A8}" type="pres">
      <dgm:prSet presAssocID="{A420A148-CD3A-4180-AF7A-590D94CB1CF3}" presName="composite" presStyleCnt="0"/>
      <dgm:spPr/>
    </dgm:pt>
    <dgm:pt modelId="{46B86910-D26B-4F95-9827-3ADC43AE18EE}" type="pres">
      <dgm:prSet presAssocID="{A420A148-CD3A-4180-AF7A-590D94CB1CF3}" presName="imgShp" presStyleLbl="fgImgPlace1" presStyleIdx="4" presStyleCnt="5" custScaleX="43914" custScaleY="43913"/>
      <dgm:spPr>
        <a:solidFill>
          <a:srgbClr val="7030A0"/>
        </a:solidFill>
        <a:ln>
          <a:solidFill>
            <a:srgbClr val="7030A0"/>
          </a:solidFill>
        </a:ln>
      </dgm:spPr>
    </dgm:pt>
    <dgm:pt modelId="{D0FD797F-4E73-4FC3-B01F-0D74CF9244CE}" type="pres">
      <dgm:prSet presAssocID="{A420A148-CD3A-4180-AF7A-590D94CB1CF3}" presName="txShp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53D44EB-733B-4CCB-BF29-25FE421F64CB}" srcId="{3F3692B3-BCBF-46B2-BE36-9E9229C2EB6C}" destId="{00575ACA-C387-4BB4-ADFD-1B2BFC94BEE9}" srcOrd="2" destOrd="0" parTransId="{2C2A25AA-EA06-4583-B533-98D7CC1C1062}" sibTransId="{5BD23F4A-F4D7-4701-8FFD-A4CDDFBC6310}"/>
    <dgm:cxn modelId="{8A51A001-060E-4685-8B19-1A86CCFCC365}" type="presOf" srcId="{0B0EEEB7-3418-4075-80F0-08485E22010A}" destId="{BD7E4BD3-B707-4DAE-862C-B2CCAE37C549}" srcOrd="0" destOrd="0" presId="urn:microsoft.com/office/officeart/2005/8/layout/vList3"/>
    <dgm:cxn modelId="{33861698-943E-4B6A-BE63-28274B121638}" type="presOf" srcId="{3F3692B3-BCBF-46B2-BE36-9E9229C2EB6C}" destId="{D3AE978C-494B-41A3-B686-3D9FDCD47707}" srcOrd="0" destOrd="0" presId="urn:microsoft.com/office/officeart/2005/8/layout/vList3"/>
    <dgm:cxn modelId="{5A95059D-51D6-4D3B-9253-BF88A0B01545}" srcId="{3F3692B3-BCBF-46B2-BE36-9E9229C2EB6C}" destId="{0B0EEEB7-3418-4075-80F0-08485E22010A}" srcOrd="1" destOrd="0" parTransId="{D6D65466-D3C7-4E8F-B3B9-C503976F9D61}" sibTransId="{0B83E4A4-B25B-4FB2-A90C-765A8A377CB6}"/>
    <dgm:cxn modelId="{0D95DE93-D19D-4BE7-B85B-3DE51E6BA96B}" srcId="{3F3692B3-BCBF-46B2-BE36-9E9229C2EB6C}" destId="{8704EEF8-31BC-483A-9DF1-F9DF3352D699}" srcOrd="0" destOrd="0" parTransId="{EC6E2AF8-9736-4271-B632-D1A777A5B047}" sibTransId="{8FEDB42F-9C58-414E-AA76-060A2FB456FF}"/>
    <dgm:cxn modelId="{EAABC2E1-BB71-43A3-94A2-BD87E87CF6D5}" srcId="{3F3692B3-BCBF-46B2-BE36-9E9229C2EB6C}" destId="{A420A148-CD3A-4180-AF7A-590D94CB1CF3}" srcOrd="4" destOrd="0" parTransId="{79ADEC20-172C-4238-9319-240D26811FB2}" sibTransId="{906CAEA3-8DCC-4A4A-9197-A36FBA54A00B}"/>
    <dgm:cxn modelId="{CF6EF2DD-BCAF-4C2E-8FA6-267A41D87C16}" type="presOf" srcId="{A420A148-CD3A-4180-AF7A-590D94CB1CF3}" destId="{D0FD797F-4E73-4FC3-B01F-0D74CF9244CE}" srcOrd="0" destOrd="0" presId="urn:microsoft.com/office/officeart/2005/8/layout/vList3"/>
    <dgm:cxn modelId="{C4E54557-7872-465C-96ED-EB0451E8BDD5}" srcId="{3F3692B3-BCBF-46B2-BE36-9E9229C2EB6C}" destId="{B4E9D314-CC87-45D8-AC1A-D37558C878D9}" srcOrd="3" destOrd="0" parTransId="{243235BE-FDF5-4854-AA1B-A678BDA2D8B2}" sibTransId="{03D8956F-E5AF-4AFB-88CA-6F876F28F876}"/>
    <dgm:cxn modelId="{26AE0CDC-C738-400B-90AF-79BF5291D5FE}" type="presOf" srcId="{00575ACA-C387-4BB4-ADFD-1B2BFC94BEE9}" destId="{CC97B532-372C-4341-9F51-4EDF589A5E16}" srcOrd="0" destOrd="0" presId="urn:microsoft.com/office/officeart/2005/8/layout/vList3"/>
    <dgm:cxn modelId="{491738FB-1349-4E94-9A9D-2CF05C01AE04}" type="presOf" srcId="{B4E9D314-CC87-45D8-AC1A-D37558C878D9}" destId="{94F11791-EE9D-458C-9C0D-8C4DF815BFCA}" srcOrd="0" destOrd="0" presId="urn:microsoft.com/office/officeart/2005/8/layout/vList3"/>
    <dgm:cxn modelId="{258D9822-35B4-4BAE-A49E-E7CC2392315F}" type="presOf" srcId="{8704EEF8-31BC-483A-9DF1-F9DF3352D699}" destId="{CA317B56-0599-4F56-A0B7-415975366334}" srcOrd="0" destOrd="0" presId="urn:microsoft.com/office/officeart/2005/8/layout/vList3"/>
    <dgm:cxn modelId="{ED317E15-A767-4625-9A03-02B27817F6E2}" type="presParOf" srcId="{D3AE978C-494B-41A3-B686-3D9FDCD47707}" destId="{B502AAC8-F1B0-49FF-8154-51F1DE6A5FC1}" srcOrd="0" destOrd="0" presId="urn:microsoft.com/office/officeart/2005/8/layout/vList3"/>
    <dgm:cxn modelId="{413173F4-29FA-44D8-9E7E-48A0AC48474E}" type="presParOf" srcId="{B502AAC8-F1B0-49FF-8154-51F1DE6A5FC1}" destId="{E17B80E1-7BAB-4E41-A74B-EC1A9DBAD870}" srcOrd="0" destOrd="0" presId="urn:microsoft.com/office/officeart/2005/8/layout/vList3"/>
    <dgm:cxn modelId="{0E736745-BA31-420C-9145-7067EDD78B05}" type="presParOf" srcId="{B502AAC8-F1B0-49FF-8154-51F1DE6A5FC1}" destId="{CA317B56-0599-4F56-A0B7-415975366334}" srcOrd="1" destOrd="0" presId="urn:microsoft.com/office/officeart/2005/8/layout/vList3"/>
    <dgm:cxn modelId="{51743EEC-E9F9-4DB2-BCA8-9D058CC8FBCC}" type="presParOf" srcId="{D3AE978C-494B-41A3-B686-3D9FDCD47707}" destId="{D41F1531-1F86-47AC-9682-8A98E07CB27E}" srcOrd="1" destOrd="0" presId="urn:microsoft.com/office/officeart/2005/8/layout/vList3"/>
    <dgm:cxn modelId="{3E8461B1-34A5-49C3-B966-C4D706A69532}" type="presParOf" srcId="{D3AE978C-494B-41A3-B686-3D9FDCD47707}" destId="{A5F20255-A99A-4859-9275-EC1E9396587C}" srcOrd="2" destOrd="0" presId="urn:microsoft.com/office/officeart/2005/8/layout/vList3"/>
    <dgm:cxn modelId="{1BE17A26-3CCA-4A19-8D0D-8ACF9F5857FF}" type="presParOf" srcId="{A5F20255-A99A-4859-9275-EC1E9396587C}" destId="{185E2DE2-1D5B-4B4D-B945-DFDDF2C33608}" srcOrd="0" destOrd="0" presId="urn:microsoft.com/office/officeart/2005/8/layout/vList3"/>
    <dgm:cxn modelId="{A42B7C45-6136-4A7C-969F-601EDC8FAEC7}" type="presParOf" srcId="{A5F20255-A99A-4859-9275-EC1E9396587C}" destId="{BD7E4BD3-B707-4DAE-862C-B2CCAE37C549}" srcOrd="1" destOrd="0" presId="urn:microsoft.com/office/officeart/2005/8/layout/vList3"/>
    <dgm:cxn modelId="{A82806D1-E021-4E0C-B16E-1223A6A3DEC7}" type="presParOf" srcId="{D3AE978C-494B-41A3-B686-3D9FDCD47707}" destId="{13DB4B76-A7F4-44CC-980A-61F2EC094096}" srcOrd="3" destOrd="0" presId="urn:microsoft.com/office/officeart/2005/8/layout/vList3"/>
    <dgm:cxn modelId="{963FBFE7-01A5-482F-813D-220ED1AD8CC4}" type="presParOf" srcId="{D3AE978C-494B-41A3-B686-3D9FDCD47707}" destId="{6A9B6AAF-EB12-48E2-A5F4-9983EEF05B0C}" srcOrd="4" destOrd="0" presId="urn:microsoft.com/office/officeart/2005/8/layout/vList3"/>
    <dgm:cxn modelId="{0AB679F7-CAFE-4AEE-BD3B-C8EC76B01113}" type="presParOf" srcId="{6A9B6AAF-EB12-48E2-A5F4-9983EEF05B0C}" destId="{F13C8B11-2853-4A6E-A433-AAA58C84128B}" srcOrd="0" destOrd="0" presId="urn:microsoft.com/office/officeart/2005/8/layout/vList3"/>
    <dgm:cxn modelId="{D0739B23-CFA4-4671-8118-C1833D4BD915}" type="presParOf" srcId="{6A9B6AAF-EB12-48E2-A5F4-9983EEF05B0C}" destId="{CC97B532-372C-4341-9F51-4EDF589A5E16}" srcOrd="1" destOrd="0" presId="urn:microsoft.com/office/officeart/2005/8/layout/vList3"/>
    <dgm:cxn modelId="{CDFBEE7A-0284-4F78-935B-765698B6E6D0}" type="presParOf" srcId="{D3AE978C-494B-41A3-B686-3D9FDCD47707}" destId="{3C782933-305D-4A66-86EB-142BD8744A28}" srcOrd="5" destOrd="0" presId="urn:microsoft.com/office/officeart/2005/8/layout/vList3"/>
    <dgm:cxn modelId="{D75A0CE1-439E-486D-8053-A89333A1A9E3}" type="presParOf" srcId="{D3AE978C-494B-41A3-B686-3D9FDCD47707}" destId="{16C816EF-B28F-4EAF-B312-D0043B8DBD1F}" srcOrd="6" destOrd="0" presId="urn:microsoft.com/office/officeart/2005/8/layout/vList3"/>
    <dgm:cxn modelId="{FFC5968C-0336-4020-B25C-49391F577E06}" type="presParOf" srcId="{16C816EF-B28F-4EAF-B312-D0043B8DBD1F}" destId="{1406A248-9C69-41E6-8D85-0ED4F0938136}" srcOrd="0" destOrd="0" presId="urn:microsoft.com/office/officeart/2005/8/layout/vList3"/>
    <dgm:cxn modelId="{873FB431-1B0B-4F2C-B5C0-6BF4D64DF608}" type="presParOf" srcId="{16C816EF-B28F-4EAF-B312-D0043B8DBD1F}" destId="{94F11791-EE9D-458C-9C0D-8C4DF815BFCA}" srcOrd="1" destOrd="0" presId="urn:microsoft.com/office/officeart/2005/8/layout/vList3"/>
    <dgm:cxn modelId="{2BDC8992-ACB0-4AC8-B1B8-BA5732CC5112}" type="presParOf" srcId="{D3AE978C-494B-41A3-B686-3D9FDCD47707}" destId="{AC48A2A1-744E-4215-9C21-5D84FCA67219}" srcOrd="7" destOrd="0" presId="urn:microsoft.com/office/officeart/2005/8/layout/vList3"/>
    <dgm:cxn modelId="{E35F0155-E63B-43B1-9038-C422D0BC16A9}" type="presParOf" srcId="{D3AE978C-494B-41A3-B686-3D9FDCD47707}" destId="{C664E10B-C7A1-4921-9D3A-2CABBD9A32A8}" srcOrd="8" destOrd="0" presId="urn:microsoft.com/office/officeart/2005/8/layout/vList3"/>
    <dgm:cxn modelId="{8B7F36B6-9FEF-4321-8442-26FA49D46B51}" type="presParOf" srcId="{C664E10B-C7A1-4921-9D3A-2CABBD9A32A8}" destId="{46B86910-D26B-4F95-9827-3ADC43AE18EE}" srcOrd="0" destOrd="0" presId="urn:microsoft.com/office/officeart/2005/8/layout/vList3"/>
    <dgm:cxn modelId="{D124F557-7AE1-4AF3-A16D-169A10F29DAA}" type="presParOf" srcId="{C664E10B-C7A1-4921-9D3A-2CABBD9A32A8}" destId="{D0FD797F-4E73-4FC3-B01F-0D74CF9244CE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7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3F3692B3-BCBF-46B2-BE36-9E9229C2EB6C}" type="doc">
      <dgm:prSet loTypeId="urn:microsoft.com/office/officeart/2005/8/layout/vList3" loCatId="list" qsTypeId="urn:microsoft.com/office/officeart/2005/8/quickstyle/simple1" qsCatId="simple" csTypeId="urn:microsoft.com/office/officeart/2005/8/colors/colorful3" csCatId="colorful" phldr="1"/>
      <dgm:spPr/>
    </dgm:pt>
    <dgm:pt modelId="{8704EEF8-31BC-483A-9DF1-F9DF3352D69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906,84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EC6E2AF8-9736-4271-B632-D1A777A5B047}" type="parTrans" cxnId="{0D95DE93-D19D-4BE7-B85B-3DE51E6BA96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8FEDB42F-9C58-414E-AA76-060A2FB456FF}" type="sibTrans" cxnId="{0D95DE93-D19D-4BE7-B85B-3DE51E6BA96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B0EEEB7-3418-4075-80F0-08485E22010A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23,54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D6D65466-D3C7-4E8F-B3B9-C503976F9D61}" type="parTrans" cxnId="{5A95059D-51D6-4D3B-9253-BF88A0B0154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B83E4A4-B25B-4FB2-A90C-765A8A377CB6}" type="sibTrans" cxnId="{5A95059D-51D6-4D3B-9253-BF88A0B0154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0575ACA-C387-4BB4-ADFD-1B2BFC94BEE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25,51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2C2A25AA-EA06-4583-B533-98D7CC1C1062}" type="parTrans" cxnId="{753D44EB-733B-4CCB-BF29-25FE421F64C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5BD23F4A-F4D7-4701-8FFD-A4CDDFBC6310}" type="sibTrans" cxnId="{753D44EB-733B-4CCB-BF29-25FE421F64C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A420A148-CD3A-4180-AF7A-590D94CB1CF3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2,98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79ADEC20-172C-4238-9319-240D26811FB2}" type="parTrans" cxnId="{EAABC2E1-BB71-43A3-94A2-BD87E87CF6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906CAEA3-8DCC-4A4A-9197-A36FBA54A00B}" type="sibTrans" cxnId="{EAABC2E1-BB71-43A3-94A2-BD87E87CF6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B4E9D314-CC87-45D8-AC1A-D37558C878D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3,47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243235BE-FDF5-4854-AA1B-A678BDA2D8B2}" type="parTrans" cxnId="{C4E54557-7872-465C-96ED-EB0451E8BD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3D8956F-E5AF-4AFB-88CA-6F876F28F876}" type="sibTrans" cxnId="{C4E54557-7872-465C-96ED-EB0451E8BD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D3AE978C-494B-41A3-B686-3D9FDCD47707}" type="pres">
      <dgm:prSet presAssocID="{3F3692B3-BCBF-46B2-BE36-9E9229C2EB6C}" presName="linearFlow" presStyleCnt="0">
        <dgm:presLayoutVars>
          <dgm:dir/>
          <dgm:resizeHandles val="exact"/>
        </dgm:presLayoutVars>
      </dgm:prSet>
      <dgm:spPr/>
    </dgm:pt>
    <dgm:pt modelId="{B502AAC8-F1B0-49FF-8154-51F1DE6A5FC1}" type="pres">
      <dgm:prSet presAssocID="{8704EEF8-31BC-483A-9DF1-F9DF3352D699}" presName="composite" presStyleCnt="0"/>
      <dgm:spPr/>
    </dgm:pt>
    <dgm:pt modelId="{E17B80E1-7BAB-4E41-A74B-EC1A9DBAD870}" type="pres">
      <dgm:prSet presAssocID="{8704EEF8-31BC-483A-9DF1-F9DF3352D699}" presName="imgShp" presStyleLbl="fgImgPlace1" presStyleIdx="0" presStyleCnt="5" custScaleX="43914" custScaleY="43913"/>
      <dgm:spPr>
        <a:solidFill>
          <a:srgbClr val="C00000"/>
        </a:solidFill>
        <a:ln>
          <a:solidFill>
            <a:srgbClr val="C00000"/>
          </a:solidFill>
        </a:ln>
      </dgm:spPr>
    </dgm:pt>
    <dgm:pt modelId="{CA317B56-0599-4F56-A0B7-415975366334}" type="pres">
      <dgm:prSet presAssocID="{8704EEF8-31BC-483A-9DF1-F9DF3352D699}" presName="txShp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41F1531-1F86-47AC-9682-8A98E07CB27E}" type="pres">
      <dgm:prSet presAssocID="{8FEDB42F-9C58-414E-AA76-060A2FB456FF}" presName="spacing" presStyleCnt="0"/>
      <dgm:spPr/>
    </dgm:pt>
    <dgm:pt modelId="{A5F20255-A99A-4859-9275-EC1E9396587C}" type="pres">
      <dgm:prSet presAssocID="{0B0EEEB7-3418-4075-80F0-08485E22010A}" presName="composite" presStyleCnt="0"/>
      <dgm:spPr/>
    </dgm:pt>
    <dgm:pt modelId="{185E2DE2-1D5B-4B4D-B945-DFDDF2C33608}" type="pres">
      <dgm:prSet presAssocID="{0B0EEEB7-3418-4075-80F0-08485E22010A}" presName="imgShp" presStyleLbl="fgImgPlace1" presStyleIdx="1" presStyleCnt="5" custScaleX="43914" custScaleY="43913"/>
      <dgm:spPr>
        <a:solidFill>
          <a:schemeClr val="tx2"/>
        </a:solidFill>
        <a:ln>
          <a:solidFill>
            <a:schemeClr val="tx2"/>
          </a:solidFill>
        </a:ln>
      </dgm:spPr>
    </dgm:pt>
    <dgm:pt modelId="{BD7E4BD3-B707-4DAE-862C-B2CCAE37C549}" type="pres">
      <dgm:prSet presAssocID="{0B0EEEB7-3418-4075-80F0-08485E22010A}" presName="txShp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3DB4B76-A7F4-44CC-980A-61F2EC094096}" type="pres">
      <dgm:prSet presAssocID="{0B83E4A4-B25B-4FB2-A90C-765A8A377CB6}" presName="spacing" presStyleCnt="0"/>
      <dgm:spPr/>
    </dgm:pt>
    <dgm:pt modelId="{6A9B6AAF-EB12-48E2-A5F4-9983EEF05B0C}" type="pres">
      <dgm:prSet presAssocID="{00575ACA-C387-4BB4-ADFD-1B2BFC94BEE9}" presName="composite" presStyleCnt="0"/>
      <dgm:spPr/>
    </dgm:pt>
    <dgm:pt modelId="{F13C8B11-2853-4A6E-A433-AAA58C84128B}" type="pres">
      <dgm:prSet presAssocID="{00575ACA-C387-4BB4-ADFD-1B2BFC94BEE9}" presName="imgShp" presStyleLbl="fgImgPlace1" presStyleIdx="2" presStyleCnt="5" custScaleX="43914" custScaleY="43913"/>
      <dgm:spPr>
        <a:solidFill>
          <a:srgbClr val="92D050"/>
        </a:solidFill>
        <a:ln>
          <a:solidFill>
            <a:srgbClr val="92D050"/>
          </a:solidFill>
        </a:ln>
      </dgm:spPr>
    </dgm:pt>
    <dgm:pt modelId="{CC97B532-372C-4341-9F51-4EDF589A5E16}" type="pres">
      <dgm:prSet presAssocID="{00575ACA-C387-4BB4-ADFD-1B2BFC94BEE9}" presName="txShp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C782933-305D-4A66-86EB-142BD8744A28}" type="pres">
      <dgm:prSet presAssocID="{5BD23F4A-F4D7-4701-8FFD-A4CDDFBC6310}" presName="spacing" presStyleCnt="0"/>
      <dgm:spPr/>
    </dgm:pt>
    <dgm:pt modelId="{16C816EF-B28F-4EAF-B312-D0043B8DBD1F}" type="pres">
      <dgm:prSet presAssocID="{B4E9D314-CC87-45D8-AC1A-D37558C878D9}" presName="composite" presStyleCnt="0"/>
      <dgm:spPr/>
    </dgm:pt>
    <dgm:pt modelId="{1406A248-9C69-41E6-8D85-0ED4F0938136}" type="pres">
      <dgm:prSet presAssocID="{B4E9D314-CC87-45D8-AC1A-D37558C878D9}" presName="imgShp" presStyleLbl="fgImgPlace1" presStyleIdx="3" presStyleCnt="5" custScaleX="43914" custScaleY="43913"/>
      <dgm:spPr>
        <a:solidFill>
          <a:schemeClr val="accent1">
            <a:lumMod val="60000"/>
            <a:lumOff val="40000"/>
          </a:schemeClr>
        </a:solidFill>
        <a:ln>
          <a:solidFill>
            <a:schemeClr val="accent1">
              <a:lumMod val="60000"/>
              <a:lumOff val="40000"/>
            </a:schemeClr>
          </a:solidFill>
        </a:ln>
      </dgm:spPr>
    </dgm:pt>
    <dgm:pt modelId="{94F11791-EE9D-458C-9C0D-8C4DF815BFCA}" type="pres">
      <dgm:prSet presAssocID="{B4E9D314-CC87-45D8-AC1A-D37558C878D9}" presName="txShp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C48A2A1-744E-4215-9C21-5D84FCA67219}" type="pres">
      <dgm:prSet presAssocID="{03D8956F-E5AF-4AFB-88CA-6F876F28F876}" presName="spacing" presStyleCnt="0"/>
      <dgm:spPr/>
    </dgm:pt>
    <dgm:pt modelId="{C664E10B-C7A1-4921-9D3A-2CABBD9A32A8}" type="pres">
      <dgm:prSet presAssocID="{A420A148-CD3A-4180-AF7A-590D94CB1CF3}" presName="composite" presStyleCnt="0"/>
      <dgm:spPr/>
    </dgm:pt>
    <dgm:pt modelId="{46B86910-D26B-4F95-9827-3ADC43AE18EE}" type="pres">
      <dgm:prSet presAssocID="{A420A148-CD3A-4180-AF7A-590D94CB1CF3}" presName="imgShp" presStyleLbl="fgImgPlace1" presStyleIdx="4" presStyleCnt="5" custScaleX="43914" custScaleY="43913"/>
      <dgm:spPr>
        <a:solidFill>
          <a:srgbClr val="7030A0"/>
        </a:solidFill>
        <a:ln>
          <a:solidFill>
            <a:srgbClr val="7030A0"/>
          </a:solidFill>
        </a:ln>
      </dgm:spPr>
    </dgm:pt>
    <dgm:pt modelId="{D0FD797F-4E73-4FC3-B01F-0D74CF9244CE}" type="pres">
      <dgm:prSet presAssocID="{A420A148-CD3A-4180-AF7A-590D94CB1CF3}" presName="txShp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F3440C7-D643-4749-8752-BAA345941122}" type="presOf" srcId="{00575ACA-C387-4BB4-ADFD-1B2BFC94BEE9}" destId="{CC97B532-372C-4341-9F51-4EDF589A5E16}" srcOrd="0" destOrd="0" presId="urn:microsoft.com/office/officeart/2005/8/layout/vList3"/>
    <dgm:cxn modelId="{D6E97240-2F70-4858-9E33-26F1CF7CB445}" type="presOf" srcId="{B4E9D314-CC87-45D8-AC1A-D37558C878D9}" destId="{94F11791-EE9D-458C-9C0D-8C4DF815BFCA}" srcOrd="0" destOrd="0" presId="urn:microsoft.com/office/officeart/2005/8/layout/vList3"/>
    <dgm:cxn modelId="{7611C9A4-8A18-4CAC-AC94-A44897B03626}" type="presOf" srcId="{8704EEF8-31BC-483A-9DF1-F9DF3352D699}" destId="{CA317B56-0599-4F56-A0B7-415975366334}" srcOrd="0" destOrd="0" presId="urn:microsoft.com/office/officeart/2005/8/layout/vList3"/>
    <dgm:cxn modelId="{753D44EB-733B-4CCB-BF29-25FE421F64CB}" srcId="{3F3692B3-BCBF-46B2-BE36-9E9229C2EB6C}" destId="{00575ACA-C387-4BB4-ADFD-1B2BFC94BEE9}" srcOrd="2" destOrd="0" parTransId="{2C2A25AA-EA06-4583-B533-98D7CC1C1062}" sibTransId="{5BD23F4A-F4D7-4701-8FFD-A4CDDFBC6310}"/>
    <dgm:cxn modelId="{6227B713-DA39-4934-AAB7-D52414B1ABDE}" type="presOf" srcId="{3F3692B3-BCBF-46B2-BE36-9E9229C2EB6C}" destId="{D3AE978C-494B-41A3-B686-3D9FDCD47707}" srcOrd="0" destOrd="0" presId="urn:microsoft.com/office/officeart/2005/8/layout/vList3"/>
    <dgm:cxn modelId="{0324B888-2451-4F36-B2E8-C735DFE0DD80}" type="presOf" srcId="{0B0EEEB7-3418-4075-80F0-08485E22010A}" destId="{BD7E4BD3-B707-4DAE-862C-B2CCAE37C549}" srcOrd="0" destOrd="0" presId="urn:microsoft.com/office/officeart/2005/8/layout/vList3"/>
    <dgm:cxn modelId="{0EA9CA1F-4750-44C6-BEC6-E060F04E04E6}" type="presOf" srcId="{A420A148-CD3A-4180-AF7A-590D94CB1CF3}" destId="{D0FD797F-4E73-4FC3-B01F-0D74CF9244CE}" srcOrd="0" destOrd="0" presId="urn:microsoft.com/office/officeart/2005/8/layout/vList3"/>
    <dgm:cxn modelId="{5A95059D-51D6-4D3B-9253-BF88A0B01545}" srcId="{3F3692B3-BCBF-46B2-BE36-9E9229C2EB6C}" destId="{0B0EEEB7-3418-4075-80F0-08485E22010A}" srcOrd="1" destOrd="0" parTransId="{D6D65466-D3C7-4E8F-B3B9-C503976F9D61}" sibTransId="{0B83E4A4-B25B-4FB2-A90C-765A8A377CB6}"/>
    <dgm:cxn modelId="{0D95DE93-D19D-4BE7-B85B-3DE51E6BA96B}" srcId="{3F3692B3-BCBF-46B2-BE36-9E9229C2EB6C}" destId="{8704EEF8-31BC-483A-9DF1-F9DF3352D699}" srcOrd="0" destOrd="0" parTransId="{EC6E2AF8-9736-4271-B632-D1A777A5B047}" sibTransId="{8FEDB42F-9C58-414E-AA76-060A2FB456FF}"/>
    <dgm:cxn modelId="{EAABC2E1-BB71-43A3-94A2-BD87E87CF6D5}" srcId="{3F3692B3-BCBF-46B2-BE36-9E9229C2EB6C}" destId="{A420A148-CD3A-4180-AF7A-590D94CB1CF3}" srcOrd="4" destOrd="0" parTransId="{79ADEC20-172C-4238-9319-240D26811FB2}" sibTransId="{906CAEA3-8DCC-4A4A-9197-A36FBA54A00B}"/>
    <dgm:cxn modelId="{C4E54557-7872-465C-96ED-EB0451E8BDD5}" srcId="{3F3692B3-BCBF-46B2-BE36-9E9229C2EB6C}" destId="{B4E9D314-CC87-45D8-AC1A-D37558C878D9}" srcOrd="3" destOrd="0" parTransId="{243235BE-FDF5-4854-AA1B-A678BDA2D8B2}" sibTransId="{03D8956F-E5AF-4AFB-88CA-6F876F28F876}"/>
    <dgm:cxn modelId="{AAC773F8-F55F-42FB-BEB9-BDB8A358CEBC}" type="presParOf" srcId="{D3AE978C-494B-41A3-B686-3D9FDCD47707}" destId="{B502AAC8-F1B0-49FF-8154-51F1DE6A5FC1}" srcOrd="0" destOrd="0" presId="urn:microsoft.com/office/officeart/2005/8/layout/vList3"/>
    <dgm:cxn modelId="{17D31EEC-5EBD-404B-B1C2-F6AA82ACADF8}" type="presParOf" srcId="{B502AAC8-F1B0-49FF-8154-51F1DE6A5FC1}" destId="{E17B80E1-7BAB-4E41-A74B-EC1A9DBAD870}" srcOrd="0" destOrd="0" presId="urn:microsoft.com/office/officeart/2005/8/layout/vList3"/>
    <dgm:cxn modelId="{57C0D17A-1AF1-48D3-8775-ABE8CA45ED86}" type="presParOf" srcId="{B502AAC8-F1B0-49FF-8154-51F1DE6A5FC1}" destId="{CA317B56-0599-4F56-A0B7-415975366334}" srcOrd="1" destOrd="0" presId="urn:microsoft.com/office/officeart/2005/8/layout/vList3"/>
    <dgm:cxn modelId="{26DBAE4A-6568-4514-ACB9-1606C1E34414}" type="presParOf" srcId="{D3AE978C-494B-41A3-B686-3D9FDCD47707}" destId="{D41F1531-1F86-47AC-9682-8A98E07CB27E}" srcOrd="1" destOrd="0" presId="urn:microsoft.com/office/officeart/2005/8/layout/vList3"/>
    <dgm:cxn modelId="{059E9833-98A9-4D51-AC4F-5396F4FAED9E}" type="presParOf" srcId="{D3AE978C-494B-41A3-B686-3D9FDCD47707}" destId="{A5F20255-A99A-4859-9275-EC1E9396587C}" srcOrd="2" destOrd="0" presId="urn:microsoft.com/office/officeart/2005/8/layout/vList3"/>
    <dgm:cxn modelId="{659D1CE4-5C2E-49FF-A838-A84C5E5577E7}" type="presParOf" srcId="{A5F20255-A99A-4859-9275-EC1E9396587C}" destId="{185E2DE2-1D5B-4B4D-B945-DFDDF2C33608}" srcOrd="0" destOrd="0" presId="urn:microsoft.com/office/officeart/2005/8/layout/vList3"/>
    <dgm:cxn modelId="{08723943-F332-452F-8832-AE48F8FB4209}" type="presParOf" srcId="{A5F20255-A99A-4859-9275-EC1E9396587C}" destId="{BD7E4BD3-B707-4DAE-862C-B2CCAE37C549}" srcOrd="1" destOrd="0" presId="urn:microsoft.com/office/officeart/2005/8/layout/vList3"/>
    <dgm:cxn modelId="{3873FADD-8673-4640-9E11-F902C3F915CD}" type="presParOf" srcId="{D3AE978C-494B-41A3-B686-3D9FDCD47707}" destId="{13DB4B76-A7F4-44CC-980A-61F2EC094096}" srcOrd="3" destOrd="0" presId="urn:microsoft.com/office/officeart/2005/8/layout/vList3"/>
    <dgm:cxn modelId="{D0F334ED-40A6-4D36-A217-53A5E9992A17}" type="presParOf" srcId="{D3AE978C-494B-41A3-B686-3D9FDCD47707}" destId="{6A9B6AAF-EB12-48E2-A5F4-9983EEF05B0C}" srcOrd="4" destOrd="0" presId="urn:microsoft.com/office/officeart/2005/8/layout/vList3"/>
    <dgm:cxn modelId="{66895C46-595B-4975-B34F-5E5275C939D2}" type="presParOf" srcId="{6A9B6AAF-EB12-48E2-A5F4-9983EEF05B0C}" destId="{F13C8B11-2853-4A6E-A433-AAA58C84128B}" srcOrd="0" destOrd="0" presId="urn:microsoft.com/office/officeart/2005/8/layout/vList3"/>
    <dgm:cxn modelId="{788C5A75-7E0F-408A-A313-4A663BDA02C7}" type="presParOf" srcId="{6A9B6AAF-EB12-48E2-A5F4-9983EEF05B0C}" destId="{CC97B532-372C-4341-9F51-4EDF589A5E16}" srcOrd="1" destOrd="0" presId="urn:microsoft.com/office/officeart/2005/8/layout/vList3"/>
    <dgm:cxn modelId="{7D7C13C6-5EC9-4676-BB6C-F81A90C33956}" type="presParOf" srcId="{D3AE978C-494B-41A3-B686-3D9FDCD47707}" destId="{3C782933-305D-4A66-86EB-142BD8744A28}" srcOrd="5" destOrd="0" presId="urn:microsoft.com/office/officeart/2005/8/layout/vList3"/>
    <dgm:cxn modelId="{605FA8F1-1F63-4C0C-9C97-DF7C28A024CA}" type="presParOf" srcId="{D3AE978C-494B-41A3-B686-3D9FDCD47707}" destId="{16C816EF-B28F-4EAF-B312-D0043B8DBD1F}" srcOrd="6" destOrd="0" presId="urn:microsoft.com/office/officeart/2005/8/layout/vList3"/>
    <dgm:cxn modelId="{7781A1F0-A66A-4CF4-9528-6280D0AEAFA6}" type="presParOf" srcId="{16C816EF-B28F-4EAF-B312-D0043B8DBD1F}" destId="{1406A248-9C69-41E6-8D85-0ED4F0938136}" srcOrd="0" destOrd="0" presId="urn:microsoft.com/office/officeart/2005/8/layout/vList3"/>
    <dgm:cxn modelId="{8CD0F050-C04A-4FE9-B4ED-6FB8F7833397}" type="presParOf" srcId="{16C816EF-B28F-4EAF-B312-D0043B8DBD1F}" destId="{94F11791-EE9D-458C-9C0D-8C4DF815BFCA}" srcOrd="1" destOrd="0" presId="urn:microsoft.com/office/officeart/2005/8/layout/vList3"/>
    <dgm:cxn modelId="{88799A22-E2B3-489D-A8BC-23A08BE6BDCA}" type="presParOf" srcId="{D3AE978C-494B-41A3-B686-3D9FDCD47707}" destId="{AC48A2A1-744E-4215-9C21-5D84FCA67219}" srcOrd="7" destOrd="0" presId="urn:microsoft.com/office/officeart/2005/8/layout/vList3"/>
    <dgm:cxn modelId="{2371E748-D536-4FF1-AE5C-22CD676D81A4}" type="presParOf" srcId="{D3AE978C-494B-41A3-B686-3D9FDCD47707}" destId="{C664E10B-C7A1-4921-9D3A-2CABBD9A32A8}" srcOrd="8" destOrd="0" presId="urn:microsoft.com/office/officeart/2005/8/layout/vList3"/>
    <dgm:cxn modelId="{4453FE23-3939-4F1D-973F-49896363C704}" type="presParOf" srcId="{C664E10B-C7A1-4921-9D3A-2CABBD9A32A8}" destId="{46B86910-D26B-4F95-9827-3ADC43AE18EE}" srcOrd="0" destOrd="0" presId="urn:microsoft.com/office/officeart/2005/8/layout/vList3"/>
    <dgm:cxn modelId="{3665A1FC-1ED2-45C0-888E-17DC6A05314F}" type="presParOf" srcId="{C664E10B-C7A1-4921-9D3A-2CABBD9A32A8}" destId="{D0FD797F-4E73-4FC3-B01F-0D74CF9244CE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72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3F3692B3-BCBF-46B2-BE36-9E9229C2EB6C}" type="doc">
      <dgm:prSet loTypeId="urn:microsoft.com/office/officeart/2005/8/layout/vList3" loCatId="list" qsTypeId="urn:microsoft.com/office/officeart/2005/8/quickstyle/simple1" qsCatId="simple" csTypeId="urn:microsoft.com/office/officeart/2005/8/colors/colorful3" csCatId="colorful" phldr="1"/>
      <dgm:spPr/>
    </dgm:pt>
    <dgm:pt modelId="{8704EEF8-31BC-483A-9DF1-F9DF3352D69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1115,69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EC6E2AF8-9736-4271-B632-D1A777A5B047}" type="parTrans" cxnId="{0D95DE93-D19D-4BE7-B85B-3DE51E6BA96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8FEDB42F-9C58-414E-AA76-060A2FB456FF}" type="sibTrans" cxnId="{0D95DE93-D19D-4BE7-B85B-3DE51E6BA96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B0EEEB7-3418-4075-80F0-08485E22010A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53,64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D6D65466-D3C7-4E8F-B3B9-C503976F9D61}" type="parTrans" cxnId="{5A95059D-51D6-4D3B-9253-BF88A0B0154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B83E4A4-B25B-4FB2-A90C-765A8A377CB6}" type="sibTrans" cxnId="{5A95059D-51D6-4D3B-9253-BF88A0B0154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0575ACA-C387-4BB4-ADFD-1B2BFC94BEE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26,42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2C2A25AA-EA06-4583-B533-98D7CC1C1062}" type="parTrans" cxnId="{753D44EB-733B-4CCB-BF29-25FE421F64C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5BD23F4A-F4D7-4701-8FFD-A4CDDFBC6310}" type="sibTrans" cxnId="{753D44EB-733B-4CCB-BF29-25FE421F64C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A420A148-CD3A-4180-AF7A-590D94CB1CF3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3,0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79ADEC20-172C-4238-9319-240D26811FB2}" type="parTrans" cxnId="{EAABC2E1-BB71-43A3-94A2-BD87E87CF6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906CAEA3-8DCC-4A4A-9197-A36FBA54A00B}" type="sibTrans" cxnId="{EAABC2E1-BB71-43A3-94A2-BD87E87CF6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B4E9D314-CC87-45D8-AC1A-D37558C878D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3,0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243235BE-FDF5-4854-AA1B-A678BDA2D8B2}" type="parTrans" cxnId="{C4E54557-7872-465C-96ED-EB0451E8BD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3D8956F-E5AF-4AFB-88CA-6F876F28F876}" type="sibTrans" cxnId="{C4E54557-7872-465C-96ED-EB0451E8BD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D3AE978C-494B-41A3-B686-3D9FDCD47707}" type="pres">
      <dgm:prSet presAssocID="{3F3692B3-BCBF-46B2-BE36-9E9229C2EB6C}" presName="linearFlow" presStyleCnt="0">
        <dgm:presLayoutVars>
          <dgm:dir/>
          <dgm:resizeHandles val="exact"/>
        </dgm:presLayoutVars>
      </dgm:prSet>
      <dgm:spPr/>
    </dgm:pt>
    <dgm:pt modelId="{B502AAC8-F1B0-49FF-8154-51F1DE6A5FC1}" type="pres">
      <dgm:prSet presAssocID="{8704EEF8-31BC-483A-9DF1-F9DF3352D699}" presName="composite" presStyleCnt="0"/>
      <dgm:spPr/>
    </dgm:pt>
    <dgm:pt modelId="{E17B80E1-7BAB-4E41-A74B-EC1A9DBAD870}" type="pres">
      <dgm:prSet presAssocID="{8704EEF8-31BC-483A-9DF1-F9DF3352D699}" presName="imgShp" presStyleLbl="fgImgPlace1" presStyleIdx="0" presStyleCnt="5" custScaleX="43914" custScaleY="43913"/>
      <dgm:spPr>
        <a:solidFill>
          <a:srgbClr val="C00000"/>
        </a:solidFill>
        <a:ln>
          <a:solidFill>
            <a:srgbClr val="C00000"/>
          </a:solidFill>
        </a:ln>
      </dgm:spPr>
    </dgm:pt>
    <dgm:pt modelId="{CA317B56-0599-4F56-A0B7-415975366334}" type="pres">
      <dgm:prSet presAssocID="{8704EEF8-31BC-483A-9DF1-F9DF3352D699}" presName="txShp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41F1531-1F86-47AC-9682-8A98E07CB27E}" type="pres">
      <dgm:prSet presAssocID="{8FEDB42F-9C58-414E-AA76-060A2FB456FF}" presName="spacing" presStyleCnt="0"/>
      <dgm:spPr/>
    </dgm:pt>
    <dgm:pt modelId="{A5F20255-A99A-4859-9275-EC1E9396587C}" type="pres">
      <dgm:prSet presAssocID="{0B0EEEB7-3418-4075-80F0-08485E22010A}" presName="composite" presStyleCnt="0"/>
      <dgm:spPr/>
    </dgm:pt>
    <dgm:pt modelId="{185E2DE2-1D5B-4B4D-B945-DFDDF2C33608}" type="pres">
      <dgm:prSet presAssocID="{0B0EEEB7-3418-4075-80F0-08485E22010A}" presName="imgShp" presStyleLbl="fgImgPlace1" presStyleIdx="1" presStyleCnt="5" custScaleX="43914" custScaleY="43913"/>
      <dgm:spPr>
        <a:solidFill>
          <a:schemeClr val="tx2"/>
        </a:solidFill>
        <a:ln>
          <a:solidFill>
            <a:schemeClr val="tx2"/>
          </a:solidFill>
        </a:ln>
      </dgm:spPr>
    </dgm:pt>
    <dgm:pt modelId="{BD7E4BD3-B707-4DAE-862C-B2CCAE37C549}" type="pres">
      <dgm:prSet presAssocID="{0B0EEEB7-3418-4075-80F0-08485E22010A}" presName="txShp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3DB4B76-A7F4-44CC-980A-61F2EC094096}" type="pres">
      <dgm:prSet presAssocID="{0B83E4A4-B25B-4FB2-A90C-765A8A377CB6}" presName="spacing" presStyleCnt="0"/>
      <dgm:spPr/>
    </dgm:pt>
    <dgm:pt modelId="{6A9B6AAF-EB12-48E2-A5F4-9983EEF05B0C}" type="pres">
      <dgm:prSet presAssocID="{00575ACA-C387-4BB4-ADFD-1B2BFC94BEE9}" presName="composite" presStyleCnt="0"/>
      <dgm:spPr/>
    </dgm:pt>
    <dgm:pt modelId="{F13C8B11-2853-4A6E-A433-AAA58C84128B}" type="pres">
      <dgm:prSet presAssocID="{00575ACA-C387-4BB4-ADFD-1B2BFC94BEE9}" presName="imgShp" presStyleLbl="fgImgPlace1" presStyleIdx="2" presStyleCnt="5" custScaleX="43914" custScaleY="43913"/>
      <dgm:spPr>
        <a:solidFill>
          <a:srgbClr val="92D050"/>
        </a:solidFill>
        <a:ln>
          <a:solidFill>
            <a:srgbClr val="92D050"/>
          </a:solidFill>
        </a:ln>
      </dgm:spPr>
    </dgm:pt>
    <dgm:pt modelId="{CC97B532-372C-4341-9F51-4EDF589A5E16}" type="pres">
      <dgm:prSet presAssocID="{00575ACA-C387-4BB4-ADFD-1B2BFC94BEE9}" presName="txShp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C782933-305D-4A66-86EB-142BD8744A28}" type="pres">
      <dgm:prSet presAssocID="{5BD23F4A-F4D7-4701-8FFD-A4CDDFBC6310}" presName="spacing" presStyleCnt="0"/>
      <dgm:spPr/>
    </dgm:pt>
    <dgm:pt modelId="{16C816EF-B28F-4EAF-B312-D0043B8DBD1F}" type="pres">
      <dgm:prSet presAssocID="{B4E9D314-CC87-45D8-AC1A-D37558C878D9}" presName="composite" presStyleCnt="0"/>
      <dgm:spPr/>
    </dgm:pt>
    <dgm:pt modelId="{1406A248-9C69-41E6-8D85-0ED4F0938136}" type="pres">
      <dgm:prSet presAssocID="{B4E9D314-CC87-45D8-AC1A-D37558C878D9}" presName="imgShp" presStyleLbl="fgImgPlace1" presStyleIdx="3" presStyleCnt="5" custScaleX="43914" custScaleY="43913"/>
      <dgm:spPr>
        <a:solidFill>
          <a:schemeClr val="accent1">
            <a:lumMod val="60000"/>
            <a:lumOff val="40000"/>
          </a:schemeClr>
        </a:solidFill>
        <a:ln>
          <a:solidFill>
            <a:schemeClr val="accent1">
              <a:lumMod val="60000"/>
              <a:lumOff val="40000"/>
            </a:schemeClr>
          </a:solidFill>
        </a:ln>
      </dgm:spPr>
    </dgm:pt>
    <dgm:pt modelId="{94F11791-EE9D-458C-9C0D-8C4DF815BFCA}" type="pres">
      <dgm:prSet presAssocID="{B4E9D314-CC87-45D8-AC1A-D37558C878D9}" presName="txShp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C48A2A1-744E-4215-9C21-5D84FCA67219}" type="pres">
      <dgm:prSet presAssocID="{03D8956F-E5AF-4AFB-88CA-6F876F28F876}" presName="spacing" presStyleCnt="0"/>
      <dgm:spPr/>
    </dgm:pt>
    <dgm:pt modelId="{C664E10B-C7A1-4921-9D3A-2CABBD9A32A8}" type="pres">
      <dgm:prSet presAssocID="{A420A148-CD3A-4180-AF7A-590D94CB1CF3}" presName="composite" presStyleCnt="0"/>
      <dgm:spPr/>
    </dgm:pt>
    <dgm:pt modelId="{46B86910-D26B-4F95-9827-3ADC43AE18EE}" type="pres">
      <dgm:prSet presAssocID="{A420A148-CD3A-4180-AF7A-590D94CB1CF3}" presName="imgShp" presStyleLbl="fgImgPlace1" presStyleIdx="4" presStyleCnt="5" custScaleX="43914" custScaleY="43913"/>
      <dgm:spPr>
        <a:solidFill>
          <a:srgbClr val="7030A0"/>
        </a:solidFill>
        <a:ln>
          <a:solidFill>
            <a:srgbClr val="7030A0"/>
          </a:solidFill>
        </a:ln>
      </dgm:spPr>
    </dgm:pt>
    <dgm:pt modelId="{D0FD797F-4E73-4FC3-B01F-0D74CF9244CE}" type="pres">
      <dgm:prSet presAssocID="{A420A148-CD3A-4180-AF7A-590D94CB1CF3}" presName="txShp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53D44EB-733B-4CCB-BF29-25FE421F64CB}" srcId="{3F3692B3-BCBF-46B2-BE36-9E9229C2EB6C}" destId="{00575ACA-C387-4BB4-ADFD-1B2BFC94BEE9}" srcOrd="2" destOrd="0" parTransId="{2C2A25AA-EA06-4583-B533-98D7CC1C1062}" sibTransId="{5BD23F4A-F4D7-4701-8FFD-A4CDDFBC6310}"/>
    <dgm:cxn modelId="{672C2C6B-EE5C-4714-A743-FA5D81C20651}" type="presOf" srcId="{8704EEF8-31BC-483A-9DF1-F9DF3352D699}" destId="{CA317B56-0599-4F56-A0B7-415975366334}" srcOrd="0" destOrd="0" presId="urn:microsoft.com/office/officeart/2005/8/layout/vList3"/>
    <dgm:cxn modelId="{21AF843D-A17A-4F08-BFB9-2B94AC497C2C}" type="presOf" srcId="{3F3692B3-BCBF-46B2-BE36-9E9229C2EB6C}" destId="{D3AE978C-494B-41A3-B686-3D9FDCD47707}" srcOrd="0" destOrd="0" presId="urn:microsoft.com/office/officeart/2005/8/layout/vList3"/>
    <dgm:cxn modelId="{5A3BFDEB-AF6D-4911-A87B-02E585E97BCE}" type="presOf" srcId="{A420A148-CD3A-4180-AF7A-590D94CB1CF3}" destId="{D0FD797F-4E73-4FC3-B01F-0D74CF9244CE}" srcOrd="0" destOrd="0" presId="urn:microsoft.com/office/officeart/2005/8/layout/vList3"/>
    <dgm:cxn modelId="{5A95059D-51D6-4D3B-9253-BF88A0B01545}" srcId="{3F3692B3-BCBF-46B2-BE36-9E9229C2EB6C}" destId="{0B0EEEB7-3418-4075-80F0-08485E22010A}" srcOrd="1" destOrd="0" parTransId="{D6D65466-D3C7-4E8F-B3B9-C503976F9D61}" sibTransId="{0B83E4A4-B25B-4FB2-A90C-765A8A377CB6}"/>
    <dgm:cxn modelId="{0D95DE93-D19D-4BE7-B85B-3DE51E6BA96B}" srcId="{3F3692B3-BCBF-46B2-BE36-9E9229C2EB6C}" destId="{8704EEF8-31BC-483A-9DF1-F9DF3352D699}" srcOrd="0" destOrd="0" parTransId="{EC6E2AF8-9736-4271-B632-D1A777A5B047}" sibTransId="{8FEDB42F-9C58-414E-AA76-060A2FB456FF}"/>
    <dgm:cxn modelId="{EAABC2E1-BB71-43A3-94A2-BD87E87CF6D5}" srcId="{3F3692B3-BCBF-46B2-BE36-9E9229C2EB6C}" destId="{A420A148-CD3A-4180-AF7A-590D94CB1CF3}" srcOrd="4" destOrd="0" parTransId="{79ADEC20-172C-4238-9319-240D26811FB2}" sibTransId="{906CAEA3-8DCC-4A4A-9197-A36FBA54A00B}"/>
    <dgm:cxn modelId="{211AC18E-1381-4929-A93F-1C23136DECE2}" type="presOf" srcId="{0B0EEEB7-3418-4075-80F0-08485E22010A}" destId="{BD7E4BD3-B707-4DAE-862C-B2CCAE37C549}" srcOrd="0" destOrd="0" presId="urn:microsoft.com/office/officeart/2005/8/layout/vList3"/>
    <dgm:cxn modelId="{C4E54557-7872-465C-96ED-EB0451E8BDD5}" srcId="{3F3692B3-BCBF-46B2-BE36-9E9229C2EB6C}" destId="{B4E9D314-CC87-45D8-AC1A-D37558C878D9}" srcOrd="3" destOrd="0" parTransId="{243235BE-FDF5-4854-AA1B-A678BDA2D8B2}" sibTransId="{03D8956F-E5AF-4AFB-88CA-6F876F28F876}"/>
    <dgm:cxn modelId="{59FA657D-E033-47C6-B9B4-B57277C02F22}" type="presOf" srcId="{00575ACA-C387-4BB4-ADFD-1B2BFC94BEE9}" destId="{CC97B532-372C-4341-9F51-4EDF589A5E16}" srcOrd="0" destOrd="0" presId="urn:microsoft.com/office/officeart/2005/8/layout/vList3"/>
    <dgm:cxn modelId="{EB1D5781-C937-4453-A397-22540E6C7E4B}" type="presOf" srcId="{B4E9D314-CC87-45D8-AC1A-D37558C878D9}" destId="{94F11791-EE9D-458C-9C0D-8C4DF815BFCA}" srcOrd="0" destOrd="0" presId="urn:microsoft.com/office/officeart/2005/8/layout/vList3"/>
    <dgm:cxn modelId="{628F241E-5E2A-4814-900D-6D8ADC7F84AE}" type="presParOf" srcId="{D3AE978C-494B-41A3-B686-3D9FDCD47707}" destId="{B502AAC8-F1B0-49FF-8154-51F1DE6A5FC1}" srcOrd="0" destOrd="0" presId="urn:microsoft.com/office/officeart/2005/8/layout/vList3"/>
    <dgm:cxn modelId="{DE65FDBD-521B-4284-8D7E-5B194D8B44DE}" type="presParOf" srcId="{B502AAC8-F1B0-49FF-8154-51F1DE6A5FC1}" destId="{E17B80E1-7BAB-4E41-A74B-EC1A9DBAD870}" srcOrd="0" destOrd="0" presId="urn:microsoft.com/office/officeart/2005/8/layout/vList3"/>
    <dgm:cxn modelId="{DE3E30D0-20A9-4914-9495-CB678FD79D0E}" type="presParOf" srcId="{B502AAC8-F1B0-49FF-8154-51F1DE6A5FC1}" destId="{CA317B56-0599-4F56-A0B7-415975366334}" srcOrd="1" destOrd="0" presId="urn:microsoft.com/office/officeart/2005/8/layout/vList3"/>
    <dgm:cxn modelId="{B97270C7-28CC-476B-B335-38AC741C503C}" type="presParOf" srcId="{D3AE978C-494B-41A3-B686-3D9FDCD47707}" destId="{D41F1531-1F86-47AC-9682-8A98E07CB27E}" srcOrd="1" destOrd="0" presId="urn:microsoft.com/office/officeart/2005/8/layout/vList3"/>
    <dgm:cxn modelId="{6A16187A-74B2-4D21-A6D8-34052031C23B}" type="presParOf" srcId="{D3AE978C-494B-41A3-B686-3D9FDCD47707}" destId="{A5F20255-A99A-4859-9275-EC1E9396587C}" srcOrd="2" destOrd="0" presId="urn:microsoft.com/office/officeart/2005/8/layout/vList3"/>
    <dgm:cxn modelId="{71B25A9F-2471-49EE-BC44-E31DA5A6AE92}" type="presParOf" srcId="{A5F20255-A99A-4859-9275-EC1E9396587C}" destId="{185E2DE2-1D5B-4B4D-B945-DFDDF2C33608}" srcOrd="0" destOrd="0" presId="urn:microsoft.com/office/officeart/2005/8/layout/vList3"/>
    <dgm:cxn modelId="{4DBEE550-0FDD-43BD-8B57-055AEFF66A61}" type="presParOf" srcId="{A5F20255-A99A-4859-9275-EC1E9396587C}" destId="{BD7E4BD3-B707-4DAE-862C-B2CCAE37C549}" srcOrd="1" destOrd="0" presId="urn:microsoft.com/office/officeart/2005/8/layout/vList3"/>
    <dgm:cxn modelId="{659B7527-DEEE-4218-8810-FDAF861E750E}" type="presParOf" srcId="{D3AE978C-494B-41A3-B686-3D9FDCD47707}" destId="{13DB4B76-A7F4-44CC-980A-61F2EC094096}" srcOrd="3" destOrd="0" presId="urn:microsoft.com/office/officeart/2005/8/layout/vList3"/>
    <dgm:cxn modelId="{F8925DF1-51B7-49B9-A27A-F80A0CF3F016}" type="presParOf" srcId="{D3AE978C-494B-41A3-B686-3D9FDCD47707}" destId="{6A9B6AAF-EB12-48E2-A5F4-9983EEF05B0C}" srcOrd="4" destOrd="0" presId="urn:microsoft.com/office/officeart/2005/8/layout/vList3"/>
    <dgm:cxn modelId="{525F5B37-CD9D-4C6A-BBC3-87F0876DC18D}" type="presParOf" srcId="{6A9B6AAF-EB12-48E2-A5F4-9983EEF05B0C}" destId="{F13C8B11-2853-4A6E-A433-AAA58C84128B}" srcOrd="0" destOrd="0" presId="urn:microsoft.com/office/officeart/2005/8/layout/vList3"/>
    <dgm:cxn modelId="{8EC7558C-7AA5-4B19-B4FD-EF75D91F1392}" type="presParOf" srcId="{6A9B6AAF-EB12-48E2-A5F4-9983EEF05B0C}" destId="{CC97B532-372C-4341-9F51-4EDF589A5E16}" srcOrd="1" destOrd="0" presId="urn:microsoft.com/office/officeart/2005/8/layout/vList3"/>
    <dgm:cxn modelId="{11485C12-7CF7-405B-BC88-3BA361EE3A41}" type="presParOf" srcId="{D3AE978C-494B-41A3-B686-3D9FDCD47707}" destId="{3C782933-305D-4A66-86EB-142BD8744A28}" srcOrd="5" destOrd="0" presId="urn:microsoft.com/office/officeart/2005/8/layout/vList3"/>
    <dgm:cxn modelId="{2841D5CA-0249-4699-A2E6-96E41F48BF29}" type="presParOf" srcId="{D3AE978C-494B-41A3-B686-3D9FDCD47707}" destId="{16C816EF-B28F-4EAF-B312-D0043B8DBD1F}" srcOrd="6" destOrd="0" presId="urn:microsoft.com/office/officeart/2005/8/layout/vList3"/>
    <dgm:cxn modelId="{9AA04502-9E8E-464D-9825-C2B3548FF5D9}" type="presParOf" srcId="{16C816EF-B28F-4EAF-B312-D0043B8DBD1F}" destId="{1406A248-9C69-41E6-8D85-0ED4F0938136}" srcOrd="0" destOrd="0" presId="urn:microsoft.com/office/officeart/2005/8/layout/vList3"/>
    <dgm:cxn modelId="{7E25E85D-1B4E-4D0B-879F-ECD609F78D7C}" type="presParOf" srcId="{16C816EF-B28F-4EAF-B312-D0043B8DBD1F}" destId="{94F11791-EE9D-458C-9C0D-8C4DF815BFCA}" srcOrd="1" destOrd="0" presId="urn:microsoft.com/office/officeart/2005/8/layout/vList3"/>
    <dgm:cxn modelId="{93351636-9C2A-4B42-B511-594831B829D8}" type="presParOf" srcId="{D3AE978C-494B-41A3-B686-3D9FDCD47707}" destId="{AC48A2A1-744E-4215-9C21-5D84FCA67219}" srcOrd="7" destOrd="0" presId="urn:microsoft.com/office/officeart/2005/8/layout/vList3"/>
    <dgm:cxn modelId="{D09A8B42-DD07-4E99-8A91-702D927E2E74}" type="presParOf" srcId="{D3AE978C-494B-41A3-B686-3D9FDCD47707}" destId="{C664E10B-C7A1-4921-9D3A-2CABBD9A32A8}" srcOrd="8" destOrd="0" presId="urn:microsoft.com/office/officeart/2005/8/layout/vList3"/>
    <dgm:cxn modelId="{609A0C66-E998-4594-A839-86F725144D3A}" type="presParOf" srcId="{C664E10B-C7A1-4921-9D3A-2CABBD9A32A8}" destId="{46B86910-D26B-4F95-9827-3ADC43AE18EE}" srcOrd="0" destOrd="0" presId="urn:microsoft.com/office/officeart/2005/8/layout/vList3"/>
    <dgm:cxn modelId="{F66D7960-D796-4CA5-A775-47D7FF693182}" type="presParOf" srcId="{C664E10B-C7A1-4921-9D3A-2CABBD9A32A8}" destId="{D0FD797F-4E73-4FC3-B01F-0D74CF9244CE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77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3F3692B3-BCBF-46B2-BE36-9E9229C2EB6C}" type="doc">
      <dgm:prSet loTypeId="urn:microsoft.com/office/officeart/2005/8/layout/vList3" loCatId="list" qsTypeId="urn:microsoft.com/office/officeart/2005/8/quickstyle/simple1" qsCatId="simple" csTypeId="urn:microsoft.com/office/officeart/2005/8/colors/colorful3" csCatId="colorful" phldr="1"/>
      <dgm:spPr/>
    </dgm:pt>
    <dgm:pt modelId="{8704EEF8-31BC-483A-9DF1-F9DF3352D69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2160,47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EC6E2AF8-9736-4271-B632-D1A777A5B047}" type="parTrans" cxnId="{0D95DE93-D19D-4BE7-B85B-3DE51E6BA96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8FEDB42F-9C58-414E-AA76-060A2FB456FF}" type="sibTrans" cxnId="{0D95DE93-D19D-4BE7-B85B-3DE51E6BA96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B0EEEB7-3418-4075-80F0-08485E22010A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52,0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D6D65466-D3C7-4E8F-B3B9-C503976F9D61}" type="parTrans" cxnId="{5A95059D-51D6-4D3B-9253-BF88A0B0154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B83E4A4-B25B-4FB2-A90C-765A8A377CB6}" type="sibTrans" cxnId="{5A95059D-51D6-4D3B-9253-BF88A0B0154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0575ACA-C387-4BB4-ADFD-1B2BFC94BEE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24,95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2C2A25AA-EA06-4583-B533-98D7CC1C1062}" type="parTrans" cxnId="{753D44EB-733B-4CCB-BF29-25FE421F64C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5BD23F4A-F4D7-4701-8FFD-A4CDDFBC6310}" type="sibTrans" cxnId="{753D44EB-733B-4CCB-BF29-25FE421F64C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A420A148-CD3A-4180-AF7A-590D94CB1CF3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3,0 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79ADEC20-172C-4238-9319-240D26811FB2}" type="parTrans" cxnId="{EAABC2E1-BB71-43A3-94A2-BD87E87CF6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906CAEA3-8DCC-4A4A-9197-A36FBA54A00B}" type="sibTrans" cxnId="{EAABC2E1-BB71-43A3-94A2-BD87E87CF6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B4E9D314-CC87-45D8-AC1A-D37558C878D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3,20 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243235BE-FDF5-4854-AA1B-A678BDA2D8B2}" type="parTrans" cxnId="{C4E54557-7872-465C-96ED-EB0451E8BD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3D8956F-E5AF-4AFB-88CA-6F876F28F876}" type="sibTrans" cxnId="{C4E54557-7872-465C-96ED-EB0451E8BD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D3AE978C-494B-41A3-B686-3D9FDCD47707}" type="pres">
      <dgm:prSet presAssocID="{3F3692B3-BCBF-46B2-BE36-9E9229C2EB6C}" presName="linearFlow" presStyleCnt="0">
        <dgm:presLayoutVars>
          <dgm:dir/>
          <dgm:resizeHandles val="exact"/>
        </dgm:presLayoutVars>
      </dgm:prSet>
      <dgm:spPr/>
    </dgm:pt>
    <dgm:pt modelId="{B502AAC8-F1B0-49FF-8154-51F1DE6A5FC1}" type="pres">
      <dgm:prSet presAssocID="{8704EEF8-31BC-483A-9DF1-F9DF3352D699}" presName="composite" presStyleCnt="0"/>
      <dgm:spPr/>
    </dgm:pt>
    <dgm:pt modelId="{E17B80E1-7BAB-4E41-A74B-EC1A9DBAD870}" type="pres">
      <dgm:prSet presAssocID="{8704EEF8-31BC-483A-9DF1-F9DF3352D699}" presName="imgShp" presStyleLbl="fgImgPlace1" presStyleIdx="0" presStyleCnt="5" custScaleX="43914" custScaleY="43913"/>
      <dgm:spPr>
        <a:solidFill>
          <a:srgbClr val="C00000"/>
        </a:solidFill>
        <a:ln>
          <a:solidFill>
            <a:srgbClr val="C00000"/>
          </a:solidFill>
        </a:ln>
      </dgm:spPr>
    </dgm:pt>
    <dgm:pt modelId="{CA317B56-0599-4F56-A0B7-415975366334}" type="pres">
      <dgm:prSet presAssocID="{8704EEF8-31BC-483A-9DF1-F9DF3352D699}" presName="txShp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41F1531-1F86-47AC-9682-8A98E07CB27E}" type="pres">
      <dgm:prSet presAssocID="{8FEDB42F-9C58-414E-AA76-060A2FB456FF}" presName="spacing" presStyleCnt="0"/>
      <dgm:spPr/>
    </dgm:pt>
    <dgm:pt modelId="{A5F20255-A99A-4859-9275-EC1E9396587C}" type="pres">
      <dgm:prSet presAssocID="{0B0EEEB7-3418-4075-80F0-08485E22010A}" presName="composite" presStyleCnt="0"/>
      <dgm:spPr/>
    </dgm:pt>
    <dgm:pt modelId="{185E2DE2-1D5B-4B4D-B945-DFDDF2C33608}" type="pres">
      <dgm:prSet presAssocID="{0B0EEEB7-3418-4075-80F0-08485E22010A}" presName="imgShp" presStyleLbl="fgImgPlace1" presStyleIdx="1" presStyleCnt="5" custScaleX="43914" custScaleY="43913"/>
      <dgm:spPr>
        <a:solidFill>
          <a:schemeClr val="tx2"/>
        </a:solidFill>
        <a:ln>
          <a:solidFill>
            <a:schemeClr val="tx2"/>
          </a:solidFill>
        </a:ln>
      </dgm:spPr>
    </dgm:pt>
    <dgm:pt modelId="{BD7E4BD3-B707-4DAE-862C-B2CCAE37C549}" type="pres">
      <dgm:prSet presAssocID="{0B0EEEB7-3418-4075-80F0-08485E22010A}" presName="txShp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3DB4B76-A7F4-44CC-980A-61F2EC094096}" type="pres">
      <dgm:prSet presAssocID="{0B83E4A4-B25B-4FB2-A90C-765A8A377CB6}" presName="spacing" presStyleCnt="0"/>
      <dgm:spPr/>
    </dgm:pt>
    <dgm:pt modelId="{6A9B6AAF-EB12-48E2-A5F4-9983EEF05B0C}" type="pres">
      <dgm:prSet presAssocID="{00575ACA-C387-4BB4-ADFD-1B2BFC94BEE9}" presName="composite" presStyleCnt="0"/>
      <dgm:spPr/>
    </dgm:pt>
    <dgm:pt modelId="{F13C8B11-2853-4A6E-A433-AAA58C84128B}" type="pres">
      <dgm:prSet presAssocID="{00575ACA-C387-4BB4-ADFD-1B2BFC94BEE9}" presName="imgShp" presStyleLbl="fgImgPlace1" presStyleIdx="2" presStyleCnt="5" custScaleX="43914" custScaleY="43913"/>
      <dgm:spPr>
        <a:solidFill>
          <a:srgbClr val="92D050"/>
        </a:solidFill>
        <a:ln>
          <a:solidFill>
            <a:srgbClr val="92D050"/>
          </a:solidFill>
        </a:ln>
      </dgm:spPr>
    </dgm:pt>
    <dgm:pt modelId="{CC97B532-372C-4341-9F51-4EDF589A5E16}" type="pres">
      <dgm:prSet presAssocID="{00575ACA-C387-4BB4-ADFD-1B2BFC94BEE9}" presName="txShp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C782933-305D-4A66-86EB-142BD8744A28}" type="pres">
      <dgm:prSet presAssocID="{5BD23F4A-F4D7-4701-8FFD-A4CDDFBC6310}" presName="spacing" presStyleCnt="0"/>
      <dgm:spPr/>
    </dgm:pt>
    <dgm:pt modelId="{16C816EF-B28F-4EAF-B312-D0043B8DBD1F}" type="pres">
      <dgm:prSet presAssocID="{B4E9D314-CC87-45D8-AC1A-D37558C878D9}" presName="composite" presStyleCnt="0"/>
      <dgm:spPr/>
    </dgm:pt>
    <dgm:pt modelId="{1406A248-9C69-41E6-8D85-0ED4F0938136}" type="pres">
      <dgm:prSet presAssocID="{B4E9D314-CC87-45D8-AC1A-D37558C878D9}" presName="imgShp" presStyleLbl="fgImgPlace1" presStyleIdx="3" presStyleCnt="5" custScaleX="43914" custScaleY="43913"/>
      <dgm:spPr>
        <a:solidFill>
          <a:schemeClr val="accent1">
            <a:lumMod val="60000"/>
            <a:lumOff val="40000"/>
          </a:schemeClr>
        </a:solidFill>
        <a:ln>
          <a:solidFill>
            <a:schemeClr val="accent1">
              <a:lumMod val="60000"/>
              <a:lumOff val="40000"/>
            </a:schemeClr>
          </a:solidFill>
        </a:ln>
      </dgm:spPr>
    </dgm:pt>
    <dgm:pt modelId="{94F11791-EE9D-458C-9C0D-8C4DF815BFCA}" type="pres">
      <dgm:prSet presAssocID="{B4E9D314-CC87-45D8-AC1A-D37558C878D9}" presName="txShp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C48A2A1-744E-4215-9C21-5D84FCA67219}" type="pres">
      <dgm:prSet presAssocID="{03D8956F-E5AF-4AFB-88CA-6F876F28F876}" presName="spacing" presStyleCnt="0"/>
      <dgm:spPr/>
    </dgm:pt>
    <dgm:pt modelId="{C664E10B-C7A1-4921-9D3A-2CABBD9A32A8}" type="pres">
      <dgm:prSet presAssocID="{A420A148-CD3A-4180-AF7A-590D94CB1CF3}" presName="composite" presStyleCnt="0"/>
      <dgm:spPr/>
    </dgm:pt>
    <dgm:pt modelId="{46B86910-D26B-4F95-9827-3ADC43AE18EE}" type="pres">
      <dgm:prSet presAssocID="{A420A148-CD3A-4180-AF7A-590D94CB1CF3}" presName="imgShp" presStyleLbl="fgImgPlace1" presStyleIdx="4" presStyleCnt="5" custScaleX="43914" custScaleY="43913"/>
      <dgm:spPr>
        <a:solidFill>
          <a:srgbClr val="7030A0"/>
        </a:solidFill>
        <a:ln>
          <a:solidFill>
            <a:srgbClr val="7030A0"/>
          </a:solidFill>
        </a:ln>
      </dgm:spPr>
    </dgm:pt>
    <dgm:pt modelId="{D0FD797F-4E73-4FC3-B01F-0D74CF9244CE}" type="pres">
      <dgm:prSet presAssocID="{A420A148-CD3A-4180-AF7A-590D94CB1CF3}" presName="txShp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7EC45B6-D52C-4246-A0FE-B98618C3D729}" type="presOf" srcId="{8704EEF8-31BC-483A-9DF1-F9DF3352D699}" destId="{CA317B56-0599-4F56-A0B7-415975366334}" srcOrd="0" destOrd="0" presId="urn:microsoft.com/office/officeart/2005/8/layout/vList3"/>
    <dgm:cxn modelId="{C79FA802-1F9B-43B9-A8DC-A66F1FC8882E}" type="presOf" srcId="{00575ACA-C387-4BB4-ADFD-1B2BFC94BEE9}" destId="{CC97B532-372C-4341-9F51-4EDF589A5E16}" srcOrd="0" destOrd="0" presId="urn:microsoft.com/office/officeart/2005/8/layout/vList3"/>
    <dgm:cxn modelId="{753D44EB-733B-4CCB-BF29-25FE421F64CB}" srcId="{3F3692B3-BCBF-46B2-BE36-9E9229C2EB6C}" destId="{00575ACA-C387-4BB4-ADFD-1B2BFC94BEE9}" srcOrd="2" destOrd="0" parTransId="{2C2A25AA-EA06-4583-B533-98D7CC1C1062}" sibTransId="{5BD23F4A-F4D7-4701-8FFD-A4CDDFBC6310}"/>
    <dgm:cxn modelId="{FF05A6A9-6AA4-4868-93DA-1C8D22F3474C}" type="presOf" srcId="{0B0EEEB7-3418-4075-80F0-08485E22010A}" destId="{BD7E4BD3-B707-4DAE-862C-B2CCAE37C549}" srcOrd="0" destOrd="0" presId="urn:microsoft.com/office/officeart/2005/8/layout/vList3"/>
    <dgm:cxn modelId="{5A95059D-51D6-4D3B-9253-BF88A0B01545}" srcId="{3F3692B3-BCBF-46B2-BE36-9E9229C2EB6C}" destId="{0B0EEEB7-3418-4075-80F0-08485E22010A}" srcOrd="1" destOrd="0" parTransId="{D6D65466-D3C7-4E8F-B3B9-C503976F9D61}" sibTransId="{0B83E4A4-B25B-4FB2-A90C-765A8A377CB6}"/>
    <dgm:cxn modelId="{0D95DE93-D19D-4BE7-B85B-3DE51E6BA96B}" srcId="{3F3692B3-BCBF-46B2-BE36-9E9229C2EB6C}" destId="{8704EEF8-31BC-483A-9DF1-F9DF3352D699}" srcOrd="0" destOrd="0" parTransId="{EC6E2AF8-9736-4271-B632-D1A777A5B047}" sibTransId="{8FEDB42F-9C58-414E-AA76-060A2FB456FF}"/>
    <dgm:cxn modelId="{EAABC2E1-BB71-43A3-94A2-BD87E87CF6D5}" srcId="{3F3692B3-BCBF-46B2-BE36-9E9229C2EB6C}" destId="{A420A148-CD3A-4180-AF7A-590D94CB1CF3}" srcOrd="4" destOrd="0" parTransId="{79ADEC20-172C-4238-9319-240D26811FB2}" sibTransId="{906CAEA3-8DCC-4A4A-9197-A36FBA54A00B}"/>
    <dgm:cxn modelId="{C4E54557-7872-465C-96ED-EB0451E8BDD5}" srcId="{3F3692B3-BCBF-46B2-BE36-9E9229C2EB6C}" destId="{B4E9D314-CC87-45D8-AC1A-D37558C878D9}" srcOrd="3" destOrd="0" parTransId="{243235BE-FDF5-4854-AA1B-A678BDA2D8B2}" sibTransId="{03D8956F-E5AF-4AFB-88CA-6F876F28F876}"/>
    <dgm:cxn modelId="{3343BE7C-CAB9-4AAD-BA84-7AAD3694292F}" type="presOf" srcId="{A420A148-CD3A-4180-AF7A-590D94CB1CF3}" destId="{D0FD797F-4E73-4FC3-B01F-0D74CF9244CE}" srcOrd="0" destOrd="0" presId="urn:microsoft.com/office/officeart/2005/8/layout/vList3"/>
    <dgm:cxn modelId="{C70E65E2-EB73-4AE0-8D8E-000617C4BF2B}" type="presOf" srcId="{B4E9D314-CC87-45D8-AC1A-D37558C878D9}" destId="{94F11791-EE9D-458C-9C0D-8C4DF815BFCA}" srcOrd="0" destOrd="0" presId="urn:microsoft.com/office/officeart/2005/8/layout/vList3"/>
    <dgm:cxn modelId="{70B118E8-88D9-4B8D-93A4-76C6831A09CC}" type="presOf" srcId="{3F3692B3-BCBF-46B2-BE36-9E9229C2EB6C}" destId="{D3AE978C-494B-41A3-B686-3D9FDCD47707}" srcOrd="0" destOrd="0" presId="urn:microsoft.com/office/officeart/2005/8/layout/vList3"/>
    <dgm:cxn modelId="{718D02A8-AAFB-45BE-BBB2-CDBFF4BF95E9}" type="presParOf" srcId="{D3AE978C-494B-41A3-B686-3D9FDCD47707}" destId="{B502AAC8-F1B0-49FF-8154-51F1DE6A5FC1}" srcOrd="0" destOrd="0" presId="urn:microsoft.com/office/officeart/2005/8/layout/vList3"/>
    <dgm:cxn modelId="{10722320-12F4-461A-AC7C-7D7956CA53FD}" type="presParOf" srcId="{B502AAC8-F1B0-49FF-8154-51F1DE6A5FC1}" destId="{E17B80E1-7BAB-4E41-A74B-EC1A9DBAD870}" srcOrd="0" destOrd="0" presId="urn:microsoft.com/office/officeart/2005/8/layout/vList3"/>
    <dgm:cxn modelId="{193414A3-358C-41F1-92E7-7B0B5BFF0775}" type="presParOf" srcId="{B502AAC8-F1B0-49FF-8154-51F1DE6A5FC1}" destId="{CA317B56-0599-4F56-A0B7-415975366334}" srcOrd="1" destOrd="0" presId="urn:microsoft.com/office/officeart/2005/8/layout/vList3"/>
    <dgm:cxn modelId="{FD9318B2-1554-42E5-BFFB-D2FCF462042D}" type="presParOf" srcId="{D3AE978C-494B-41A3-B686-3D9FDCD47707}" destId="{D41F1531-1F86-47AC-9682-8A98E07CB27E}" srcOrd="1" destOrd="0" presId="urn:microsoft.com/office/officeart/2005/8/layout/vList3"/>
    <dgm:cxn modelId="{00CFF143-A42F-4F90-9C5E-CCB071843A38}" type="presParOf" srcId="{D3AE978C-494B-41A3-B686-3D9FDCD47707}" destId="{A5F20255-A99A-4859-9275-EC1E9396587C}" srcOrd="2" destOrd="0" presId="urn:microsoft.com/office/officeart/2005/8/layout/vList3"/>
    <dgm:cxn modelId="{D969E065-EDC4-4D59-9EEB-AE8731348DF5}" type="presParOf" srcId="{A5F20255-A99A-4859-9275-EC1E9396587C}" destId="{185E2DE2-1D5B-4B4D-B945-DFDDF2C33608}" srcOrd="0" destOrd="0" presId="urn:microsoft.com/office/officeart/2005/8/layout/vList3"/>
    <dgm:cxn modelId="{A2CD8673-E399-4DC5-B00A-C5A251A6172B}" type="presParOf" srcId="{A5F20255-A99A-4859-9275-EC1E9396587C}" destId="{BD7E4BD3-B707-4DAE-862C-B2CCAE37C549}" srcOrd="1" destOrd="0" presId="urn:microsoft.com/office/officeart/2005/8/layout/vList3"/>
    <dgm:cxn modelId="{00FC344F-0154-4132-A9F0-D885D0FDDFDC}" type="presParOf" srcId="{D3AE978C-494B-41A3-B686-3D9FDCD47707}" destId="{13DB4B76-A7F4-44CC-980A-61F2EC094096}" srcOrd="3" destOrd="0" presId="urn:microsoft.com/office/officeart/2005/8/layout/vList3"/>
    <dgm:cxn modelId="{C692CF2F-3919-4E83-91D6-30C135A398E8}" type="presParOf" srcId="{D3AE978C-494B-41A3-B686-3D9FDCD47707}" destId="{6A9B6AAF-EB12-48E2-A5F4-9983EEF05B0C}" srcOrd="4" destOrd="0" presId="urn:microsoft.com/office/officeart/2005/8/layout/vList3"/>
    <dgm:cxn modelId="{BDF9376F-296C-4681-85DD-7E19104EE45E}" type="presParOf" srcId="{6A9B6AAF-EB12-48E2-A5F4-9983EEF05B0C}" destId="{F13C8B11-2853-4A6E-A433-AAA58C84128B}" srcOrd="0" destOrd="0" presId="urn:microsoft.com/office/officeart/2005/8/layout/vList3"/>
    <dgm:cxn modelId="{35058F45-EB67-463A-A47C-FD9797B0FBC3}" type="presParOf" srcId="{6A9B6AAF-EB12-48E2-A5F4-9983EEF05B0C}" destId="{CC97B532-372C-4341-9F51-4EDF589A5E16}" srcOrd="1" destOrd="0" presId="urn:microsoft.com/office/officeart/2005/8/layout/vList3"/>
    <dgm:cxn modelId="{798199E7-3A98-431F-A12D-A1E1875C66F3}" type="presParOf" srcId="{D3AE978C-494B-41A3-B686-3D9FDCD47707}" destId="{3C782933-305D-4A66-86EB-142BD8744A28}" srcOrd="5" destOrd="0" presId="urn:microsoft.com/office/officeart/2005/8/layout/vList3"/>
    <dgm:cxn modelId="{042EFE92-091E-4137-8DD8-58E262C845D5}" type="presParOf" srcId="{D3AE978C-494B-41A3-B686-3D9FDCD47707}" destId="{16C816EF-B28F-4EAF-B312-D0043B8DBD1F}" srcOrd="6" destOrd="0" presId="urn:microsoft.com/office/officeart/2005/8/layout/vList3"/>
    <dgm:cxn modelId="{E64C0E0C-7B01-46BD-8FE1-22DE5028E3DB}" type="presParOf" srcId="{16C816EF-B28F-4EAF-B312-D0043B8DBD1F}" destId="{1406A248-9C69-41E6-8D85-0ED4F0938136}" srcOrd="0" destOrd="0" presId="urn:microsoft.com/office/officeart/2005/8/layout/vList3"/>
    <dgm:cxn modelId="{1F877CF2-D197-40DC-8104-94790A4BAC8D}" type="presParOf" srcId="{16C816EF-B28F-4EAF-B312-D0043B8DBD1F}" destId="{94F11791-EE9D-458C-9C0D-8C4DF815BFCA}" srcOrd="1" destOrd="0" presId="urn:microsoft.com/office/officeart/2005/8/layout/vList3"/>
    <dgm:cxn modelId="{1D0483EC-A0FD-4B76-B114-20C778A0EB7B}" type="presParOf" srcId="{D3AE978C-494B-41A3-B686-3D9FDCD47707}" destId="{AC48A2A1-744E-4215-9C21-5D84FCA67219}" srcOrd="7" destOrd="0" presId="urn:microsoft.com/office/officeart/2005/8/layout/vList3"/>
    <dgm:cxn modelId="{FD245E6D-B158-4C1C-8159-D682E175BBE1}" type="presParOf" srcId="{D3AE978C-494B-41A3-B686-3D9FDCD47707}" destId="{C664E10B-C7A1-4921-9D3A-2CABBD9A32A8}" srcOrd="8" destOrd="0" presId="urn:microsoft.com/office/officeart/2005/8/layout/vList3"/>
    <dgm:cxn modelId="{D4BAEB3A-A51A-4D95-8B88-318F2BD45D42}" type="presParOf" srcId="{C664E10B-C7A1-4921-9D3A-2CABBD9A32A8}" destId="{46B86910-D26B-4F95-9827-3ADC43AE18EE}" srcOrd="0" destOrd="0" presId="urn:microsoft.com/office/officeart/2005/8/layout/vList3"/>
    <dgm:cxn modelId="{2D8F7B14-216E-4097-B43D-FC822ED6893B}" type="presParOf" srcId="{C664E10B-C7A1-4921-9D3A-2CABBD9A32A8}" destId="{D0FD797F-4E73-4FC3-B01F-0D74CF9244CE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82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3F3692B3-BCBF-46B2-BE36-9E9229C2EB6C}" type="doc">
      <dgm:prSet loTypeId="urn:microsoft.com/office/officeart/2005/8/layout/vList3" loCatId="list" qsTypeId="urn:microsoft.com/office/officeart/2005/8/quickstyle/simple1" qsCatId="simple" csTypeId="urn:microsoft.com/office/officeart/2005/8/colors/colorful3" csCatId="colorful" phldr="1"/>
      <dgm:spPr/>
    </dgm:pt>
    <dgm:pt modelId="{8704EEF8-31BC-483A-9DF1-F9DF3352D69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786,46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EC6E2AF8-9736-4271-B632-D1A777A5B047}" type="parTrans" cxnId="{0D95DE93-D19D-4BE7-B85B-3DE51E6BA96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8FEDB42F-9C58-414E-AA76-060A2FB456FF}" type="sibTrans" cxnId="{0D95DE93-D19D-4BE7-B85B-3DE51E6BA96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B0EEEB7-3418-4075-80F0-08485E22010A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45,13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D6D65466-D3C7-4E8F-B3B9-C503976F9D61}" type="parTrans" cxnId="{5A95059D-51D6-4D3B-9253-BF88A0B0154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B83E4A4-B25B-4FB2-A90C-765A8A377CB6}" type="sibTrans" cxnId="{5A95059D-51D6-4D3B-9253-BF88A0B0154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0575ACA-C387-4BB4-ADFD-1B2BFC94BEE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45,13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2C2A25AA-EA06-4583-B533-98D7CC1C1062}" type="parTrans" cxnId="{753D44EB-733B-4CCB-BF29-25FE421F64C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5BD23F4A-F4D7-4701-8FFD-A4CDDFBC6310}" type="sibTrans" cxnId="{753D44EB-733B-4CCB-BF29-25FE421F64C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A420A148-CD3A-4180-AF7A-590D94CB1CF3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2,95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79ADEC20-172C-4238-9319-240D26811FB2}" type="parTrans" cxnId="{EAABC2E1-BB71-43A3-94A2-BD87E87CF6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906CAEA3-8DCC-4A4A-9197-A36FBA54A00B}" type="sibTrans" cxnId="{EAABC2E1-BB71-43A3-94A2-BD87E87CF6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B4E9D314-CC87-45D8-AC1A-D37558C878D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2,13 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243235BE-FDF5-4854-AA1B-A678BDA2D8B2}" type="parTrans" cxnId="{C4E54557-7872-465C-96ED-EB0451E8BD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3D8956F-E5AF-4AFB-88CA-6F876F28F876}" type="sibTrans" cxnId="{C4E54557-7872-465C-96ED-EB0451E8BD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D3AE978C-494B-41A3-B686-3D9FDCD47707}" type="pres">
      <dgm:prSet presAssocID="{3F3692B3-BCBF-46B2-BE36-9E9229C2EB6C}" presName="linearFlow" presStyleCnt="0">
        <dgm:presLayoutVars>
          <dgm:dir/>
          <dgm:resizeHandles val="exact"/>
        </dgm:presLayoutVars>
      </dgm:prSet>
      <dgm:spPr/>
    </dgm:pt>
    <dgm:pt modelId="{B502AAC8-F1B0-49FF-8154-51F1DE6A5FC1}" type="pres">
      <dgm:prSet presAssocID="{8704EEF8-31BC-483A-9DF1-F9DF3352D699}" presName="composite" presStyleCnt="0"/>
      <dgm:spPr/>
    </dgm:pt>
    <dgm:pt modelId="{E17B80E1-7BAB-4E41-A74B-EC1A9DBAD870}" type="pres">
      <dgm:prSet presAssocID="{8704EEF8-31BC-483A-9DF1-F9DF3352D699}" presName="imgShp" presStyleLbl="fgImgPlace1" presStyleIdx="0" presStyleCnt="5" custScaleX="43914" custScaleY="43913"/>
      <dgm:spPr>
        <a:solidFill>
          <a:srgbClr val="C00000"/>
        </a:solidFill>
        <a:ln>
          <a:solidFill>
            <a:srgbClr val="C00000"/>
          </a:solidFill>
        </a:ln>
      </dgm:spPr>
    </dgm:pt>
    <dgm:pt modelId="{CA317B56-0599-4F56-A0B7-415975366334}" type="pres">
      <dgm:prSet presAssocID="{8704EEF8-31BC-483A-9DF1-F9DF3352D699}" presName="txShp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41F1531-1F86-47AC-9682-8A98E07CB27E}" type="pres">
      <dgm:prSet presAssocID="{8FEDB42F-9C58-414E-AA76-060A2FB456FF}" presName="spacing" presStyleCnt="0"/>
      <dgm:spPr/>
    </dgm:pt>
    <dgm:pt modelId="{A5F20255-A99A-4859-9275-EC1E9396587C}" type="pres">
      <dgm:prSet presAssocID="{0B0EEEB7-3418-4075-80F0-08485E22010A}" presName="composite" presStyleCnt="0"/>
      <dgm:spPr/>
    </dgm:pt>
    <dgm:pt modelId="{185E2DE2-1D5B-4B4D-B945-DFDDF2C33608}" type="pres">
      <dgm:prSet presAssocID="{0B0EEEB7-3418-4075-80F0-08485E22010A}" presName="imgShp" presStyleLbl="fgImgPlace1" presStyleIdx="1" presStyleCnt="5" custScaleX="43914" custScaleY="43913"/>
      <dgm:spPr>
        <a:solidFill>
          <a:schemeClr val="tx2"/>
        </a:solidFill>
        <a:ln>
          <a:solidFill>
            <a:schemeClr val="tx2"/>
          </a:solidFill>
        </a:ln>
      </dgm:spPr>
    </dgm:pt>
    <dgm:pt modelId="{BD7E4BD3-B707-4DAE-862C-B2CCAE37C549}" type="pres">
      <dgm:prSet presAssocID="{0B0EEEB7-3418-4075-80F0-08485E22010A}" presName="txShp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3DB4B76-A7F4-44CC-980A-61F2EC094096}" type="pres">
      <dgm:prSet presAssocID="{0B83E4A4-B25B-4FB2-A90C-765A8A377CB6}" presName="spacing" presStyleCnt="0"/>
      <dgm:spPr/>
    </dgm:pt>
    <dgm:pt modelId="{6A9B6AAF-EB12-48E2-A5F4-9983EEF05B0C}" type="pres">
      <dgm:prSet presAssocID="{00575ACA-C387-4BB4-ADFD-1B2BFC94BEE9}" presName="composite" presStyleCnt="0"/>
      <dgm:spPr/>
    </dgm:pt>
    <dgm:pt modelId="{F13C8B11-2853-4A6E-A433-AAA58C84128B}" type="pres">
      <dgm:prSet presAssocID="{00575ACA-C387-4BB4-ADFD-1B2BFC94BEE9}" presName="imgShp" presStyleLbl="fgImgPlace1" presStyleIdx="2" presStyleCnt="5" custScaleX="43914" custScaleY="43913"/>
      <dgm:spPr>
        <a:solidFill>
          <a:srgbClr val="92D050"/>
        </a:solidFill>
        <a:ln>
          <a:solidFill>
            <a:srgbClr val="92D050"/>
          </a:solidFill>
        </a:ln>
      </dgm:spPr>
    </dgm:pt>
    <dgm:pt modelId="{CC97B532-372C-4341-9F51-4EDF589A5E16}" type="pres">
      <dgm:prSet presAssocID="{00575ACA-C387-4BB4-ADFD-1B2BFC94BEE9}" presName="txShp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C782933-305D-4A66-86EB-142BD8744A28}" type="pres">
      <dgm:prSet presAssocID="{5BD23F4A-F4D7-4701-8FFD-A4CDDFBC6310}" presName="spacing" presStyleCnt="0"/>
      <dgm:spPr/>
    </dgm:pt>
    <dgm:pt modelId="{16C816EF-B28F-4EAF-B312-D0043B8DBD1F}" type="pres">
      <dgm:prSet presAssocID="{B4E9D314-CC87-45D8-AC1A-D37558C878D9}" presName="composite" presStyleCnt="0"/>
      <dgm:spPr/>
    </dgm:pt>
    <dgm:pt modelId="{1406A248-9C69-41E6-8D85-0ED4F0938136}" type="pres">
      <dgm:prSet presAssocID="{B4E9D314-CC87-45D8-AC1A-D37558C878D9}" presName="imgShp" presStyleLbl="fgImgPlace1" presStyleIdx="3" presStyleCnt="5" custScaleX="43914" custScaleY="43913"/>
      <dgm:spPr>
        <a:solidFill>
          <a:schemeClr val="accent1">
            <a:lumMod val="60000"/>
            <a:lumOff val="40000"/>
          </a:schemeClr>
        </a:solidFill>
        <a:ln>
          <a:solidFill>
            <a:schemeClr val="accent1">
              <a:lumMod val="60000"/>
              <a:lumOff val="40000"/>
            </a:schemeClr>
          </a:solidFill>
        </a:ln>
      </dgm:spPr>
    </dgm:pt>
    <dgm:pt modelId="{94F11791-EE9D-458C-9C0D-8C4DF815BFCA}" type="pres">
      <dgm:prSet presAssocID="{B4E9D314-CC87-45D8-AC1A-D37558C878D9}" presName="txShp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C48A2A1-744E-4215-9C21-5D84FCA67219}" type="pres">
      <dgm:prSet presAssocID="{03D8956F-E5AF-4AFB-88CA-6F876F28F876}" presName="spacing" presStyleCnt="0"/>
      <dgm:spPr/>
    </dgm:pt>
    <dgm:pt modelId="{C664E10B-C7A1-4921-9D3A-2CABBD9A32A8}" type="pres">
      <dgm:prSet presAssocID="{A420A148-CD3A-4180-AF7A-590D94CB1CF3}" presName="composite" presStyleCnt="0"/>
      <dgm:spPr/>
    </dgm:pt>
    <dgm:pt modelId="{46B86910-D26B-4F95-9827-3ADC43AE18EE}" type="pres">
      <dgm:prSet presAssocID="{A420A148-CD3A-4180-AF7A-590D94CB1CF3}" presName="imgShp" presStyleLbl="fgImgPlace1" presStyleIdx="4" presStyleCnt="5" custScaleX="43914" custScaleY="43913"/>
      <dgm:spPr>
        <a:solidFill>
          <a:srgbClr val="7030A0"/>
        </a:solidFill>
        <a:ln>
          <a:solidFill>
            <a:srgbClr val="7030A0"/>
          </a:solidFill>
        </a:ln>
      </dgm:spPr>
    </dgm:pt>
    <dgm:pt modelId="{D0FD797F-4E73-4FC3-B01F-0D74CF9244CE}" type="pres">
      <dgm:prSet presAssocID="{A420A148-CD3A-4180-AF7A-590D94CB1CF3}" presName="txShp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F68B8028-2EAA-4422-81E9-A00E12F7E1BD}" type="presOf" srcId="{B4E9D314-CC87-45D8-AC1A-D37558C878D9}" destId="{94F11791-EE9D-458C-9C0D-8C4DF815BFCA}" srcOrd="0" destOrd="0" presId="urn:microsoft.com/office/officeart/2005/8/layout/vList3"/>
    <dgm:cxn modelId="{753D44EB-733B-4CCB-BF29-25FE421F64CB}" srcId="{3F3692B3-BCBF-46B2-BE36-9E9229C2EB6C}" destId="{00575ACA-C387-4BB4-ADFD-1B2BFC94BEE9}" srcOrd="2" destOrd="0" parTransId="{2C2A25AA-EA06-4583-B533-98D7CC1C1062}" sibTransId="{5BD23F4A-F4D7-4701-8FFD-A4CDDFBC6310}"/>
    <dgm:cxn modelId="{C1F2044D-0818-42B1-AB44-1F1F4F82EC26}" type="presOf" srcId="{3F3692B3-BCBF-46B2-BE36-9E9229C2EB6C}" destId="{D3AE978C-494B-41A3-B686-3D9FDCD47707}" srcOrd="0" destOrd="0" presId="urn:microsoft.com/office/officeart/2005/8/layout/vList3"/>
    <dgm:cxn modelId="{5A95059D-51D6-4D3B-9253-BF88A0B01545}" srcId="{3F3692B3-BCBF-46B2-BE36-9E9229C2EB6C}" destId="{0B0EEEB7-3418-4075-80F0-08485E22010A}" srcOrd="1" destOrd="0" parTransId="{D6D65466-D3C7-4E8F-B3B9-C503976F9D61}" sibTransId="{0B83E4A4-B25B-4FB2-A90C-765A8A377CB6}"/>
    <dgm:cxn modelId="{6FB18C0A-3AF6-4048-93AC-2A18F8ADB2F6}" type="presOf" srcId="{00575ACA-C387-4BB4-ADFD-1B2BFC94BEE9}" destId="{CC97B532-372C-4341-9F51-4EDF589A5E16}" srcOrd="0" destOrd="0" presId="urn:microsoft.com/office/officeart/2005/8/layout/vList3"/>
    <dgm:cxn modelId="{0D95DE93-D19D-4BE7-B85B-3DE51E6BA96B}" srcId="{3F3692B3-BCBF-46B2-BE36-9E9229C2EB6C}" destId="{8704EEF8-31BC-483A-9DF1-F9DF3352D699}" srcOrd="0" destOrd="0" parTransId="{EC6E2AF8-9736-4271-B632-D1A777A5B047}" sibTransId="{8FEDB42F-9C58-414E-AA76-060A2FB456FF}"/>
    <dgm:cxn modelId="{26567F42-5A12-4F5E-BBD5-58C99C40982B}" type="presOf" srcId="{A420A148-CD3A-4180-AF7A-590D94CB1CF3}" destId="{D0FD797F-4E73-4FC3-B01F-0D74CF9244CE}" srcOrd="0" destOrd="0" presId="urn:microsoft.com/office/officeart/2005/8/layout/vList3"/>
    <dgm:cxn modelId="{EAABC2E1-BB71-43A3-94A2-BD87E87CF6D5}" srcId="{3F3692B3-BCBF-46B2-BE36-9E9229C2EB6C}" destId="{A420A148-CD3A-4180-AF7A-590D94CB1CF3}" srcOrd="4" destOrd="0" parTransId="{79ADEC20-172C-4238-9319-240D26811FB2}" sibTransId="{906CAEA3-8DCC-4A4A-9197-A36FBA54A00B}"/>
    <dgm:cxn modelId="{AEEB8F79-2574-43DD-A51F-07B342CA0E70}" type="presOf" srcId="{8704EEF8-31BC-483A-9DF1-F9DF3352D699}" destId="{CA317B56-0599-4F56-A0B7-415975366334}" srcOrd="0" destOrd="0" presId="urn:microsoft.com/office/officeart/2005/8/layout/vList3"/>
    <dgm:cxn modelId="{C4E54557-7872-465C-96ED-EB0451E8BDD5}" srcId="{3F3692B3-BCBF-46B2-BE36-9E9229C2EB6C}" destId="{B4E9D314-CC87-45D8-AC1A-D37558C878D9}" srcOrd="3" destOrd="0" parTransId="{243235BE-FDF5-4854-AA1B-A678BDA2D8B2}" sibTransId="{03D8956F-E5AF-4AFB-88CA-6F876F28F876}"/>
    <dgm:cxn modelId="{B6656EC2-96FE-4B68-BC7B-70B62F1B395C}" type="presOf" srcId="{0B0EEEB7-3418-4075-80F0-08485E22010A}" destId="{BD7E4BD3-B707-4DAE-862C-B2CCAE37C549}" srcOrd="0" destOrd="0" presId="urn:microsoft.com/office/officeart/2005/8/layout/vList3"/>
    <dgm:cxn modelId="{66304274-61FF-4716-8801-40CD9FA0AC2E}" type="presParOf" srcId="{D3AE978C-494B-41A3-B686-3D9FDCD47707}" destId="{B502AAC8-F1B0-49FF-8154-51F1DE6A5FC1}" srcOrd="0" destOrd="0" presId="urn:microsoft.com/office/officeart/2005/8/layout/vList3"/>
    <dgm:cxn modelId="{8B4551A7-2913-46B0-BBB3-627F73D5EF20}" type="presParOf" srcId="{B502AAC8-F1B0-49FF-8154-51F1DE6A5FC1}" destId="{E17B80E1-7BAB-4E41-A74B-EC1A9DBAD870}" srcOrd="0" destOrd="0" presId="urn:microsoft.com/office/officeart/2005/8/layout/vList3"/>
    <dgm:cxn modelId="{4588183B-6EFA-47CD-8DBB-46788E71127C}" type="presParOf" srcId="{B502AAC8-F1B0-49FF-8154-51F1DE6A5FC1}" destId="{CA317B56-0599-4F56-A0B7-415975366334}" srcOrd="1" destOrd="0" presId="urn:microsoft.com/office/officeart/2005/8/layout/vList3"/>
    <dgm:cxn modelId="{8A3C9BEF-120B-410D-9507-398C17E49463}" type="presParOf" srcId="{D3AE978C-494B-41A3-B686-3D9FDCD47707}" destId="{D41F1531-1F86-47AC-9682-8A98E07CB27E}" srcOrd="1" destOrd="0" presId="urn:microsoft.com/office/officeart/2005/8/layout/vList3"/>
    <dgm:cxn modelId="{A74AC046-5E5F-49F2-B1A3-2B3B04D9FBA8}" type="presParOf" srcId="{D3AE978C-494B-41A3-B686-3D9FDCD47707}" destId="{A5F20255-A99A-4859-9275-EC1E9396587C}" srcOrd="2" destOrd="0" presId="urn:microsoft.com/office/officeart/2005/8/layout/vList3"/>
    <dgm:cxn modelId="{A9FA270E-F1DF-4938-87C5-30DFEE500C2C}" type="presParOf" srcId="{A5F20255-A99A-4859-9275-EC1E9396587C}" destId="{185E2DE2-1D5B-4B4D-B945-DFDDF2C33608}" srcOrd="0" destOrd="0" presId="urn:microsoft.com/office/officeart/2005/8/layout/vList3"/>
    <dgm:cxn modelId="{FDB4A04B-ED95-4904-AF37-8EA9CE20ABDD}" type="presParOf" srcId="{A5F20255-A99A-4859-9275-EC1E9396587C}" destId="{BD7E4BD3-B707-4DAE-862C-B2CCAE37C549}" srcOrd="1" destOrd="0" presId="urn:microsoft.com/office/officeart/2005/8/layout/vList3"/>
    <dgm:cxn modelId="{C45F8382-01C0-4C69-83B7-6C710ECEC8E6}" type="presParOf" srcId="{D3AE978C-494B-41A3-B686-3D9FDCD47707}" destId="{13DB4B76-A7F4-44CC-980A-61F2EC094096}" srcOrd="3" destOrd="0" presId="urn:microsoft.com/office/officeart/2005/8/layout/vList3"/>
    <dgm:cxn modelId="{7BE04BD3-FA02-492D-825E-CA5DA94DFFCE}" type="presParOf" srcId="{D3AE978C-494B-41A3-B686-3D9FDCD47707}" destId="{6A9B6AAF-EB12-48E2-A5F4-9983EEF05B0C}" srcOrd="4" destOrd="0" presId="urn:microsoft.com/office/officeart/2005/8/layout/vList3"/>
    <dgm:cxn modelId="{BDE99B10-9512-4AB1-B7AA-B8C0EC35FC6A}" type="presParOf" srcId="{6A9B6AAF-EB12-48E2-A5F4-9983EEF05B0C}" destId="{F13C8B11-2853-4A6E-A433-AAA58C84128B}" srcOrd="0" destOrd="0" presId="urn:microsoft.com/office/officeart/2005/8/layout/vList3"/>
    <dgm:cxn modelId="{9B85ED07-7D9E-4DF1-8A35-8ED538A731E4}" type="presParOf" srcId="{6A9B6AAF-EB12-48E2-A5F4-9983EEF05B0C}" destId="{CC97B532-372C-4341-9F51-4EDF589A5E16}" srcOrd="1" destOrd="0" presId="urn:microsoft.com/office/officeart/2005/8/layout/vList3"/>
    <dgm:cxn modelId="{A0712BEF-BB07-419F-9313-DD2478856226}" type="presParOf" srcId="{D3AE978C-494B-41A3-B686-3D9FDCD47707}" destId="{3C782933-305D-4A66-86EB-142BD8744A28}" srcOrd="5" destOrd="0" presId="urn:microsoft.com/office/officeart/2005/8/layout/vList3"/>
    <dgm:cxn modelId="{45C54EEC-F090-4B5D-AC9A-0C24165C181B}" type="presParOf" srcId="{D3AE978C-494B-41A3-B686-3D9FDCD47707}" destId="{16C816EF-B28F-4EAF-B312-D0043B8DBD1F}" srcOrd="6" destOrd="0" presId="urn:microsoft.com/office/officeart/2005/8/layout/vList3"/>
    <dgm:cxn modelId="{CF9B325D-9F9E-4ABC-A124-B511819B4A44}" type="presParOf" srcId="{16C816EF-B28F-4EAF-B312-D0043B8DBD1F}" destId="{1406A248-9C69-41E6-8D85-0ED4F0938136}" srcOrd="0" destOrd="0" presId="urn:microsoft.com/office/officeart/2005/8/layout/vList3"/>
    <dgm:cxn modelId="{BF93EE08-2C7A-498F-B2B8-7DC8DE2690AD}" type="presParOf" srcId="{16C816EF-B28F-4EAF-B312-D0043B8DBD1F}" destId="{94F11791-EE9D-458C-9C0D-8C4DF815BFCA}" srcOrd="1" destOrd="0" presId="urn:microsoft.com/office/officeart/2005/8/layout/vList3"/>
    <dgm:cxn modelId="{558C22E0-40D6-4171-9881-ED00BE7A6C87}" type="presParOf" srcId="{D3AE978C-494B-41A3-B686-3D9FDCD47707}" destId="{AC48A2A1-744E-4215-9C21-5D84FCA67219}" srcOrd="7" destOrd="0" presId="urn:microsoft.com/office/officeart/2005/8/layout/vList3"/>
    <dgm:cxn modelId="{53E3EA53-D6A0-4208-AD47-4D319E498DAB}" type="presParOf" srcId="{D3AE978C-494B-41A3-B686-3D9FDCD47707}" destId="{C664E10B-C7A1-4921-9D3A-2CABBD9A32A8}" srcOrd="8" destOrd="0" presId="urn:microsoft.com/office/officeart/2005/8/layout/vList3"/>
    <dgm:cxn modelId="{10CE8EAF-7B15-43ED-988A-CAA9BC243585}" type="presParOf" srcId="{C664E10B-C7A1-4921-9D3A-2CABBD9A32A8}" destId="{46B86910-D26B-4F95-9827-3ADC43AE18EE}" srcOrd="0" destOrd="0" presId="urn:microsoft.com/office/officeart/2005/8/layout/vList3"/>
    <dgm:cxn modelId="{C251E19E-E81F-44E8-B79B-9C946F60D2C8}" type="presParOf" srcId="{C664E10B-C7A1-4921-9D3A-2CABBD9A32A8}" destId="{D0FD797F-4E73-4FC3-B01F-0D74CF9244CE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87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3F3692B3-BCBF-46B2-BE36-9E9229C2EB6C}" type="doc">
      <dgm:prSet loTypeId="urn:microsoft.com/office/officeart/2005/8/layout/vList3" loCatId="list" qsTypeId="urn:microsoft.com/office/officeart/2005/8/quickstyle/simple1" qsCatId="simple" csTypeId="urn:microsoft.com/office/officeart/2005/8/colors/colorful3" csCatId="colorful" phldr="1"/>
      <dgm:spPr/>
    </dgm:pt>
    <dgm:pt modelId="{8704EEF8-31BC-483A-9DF1-F9DF3352D69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1000" b="1" dirty="0" smtClean="0">
              <a:ln>
                <a:noFill/>
              </a:ln>
              <a:solidFill>
                <a:schemeClr val="tx1"/>
              </a:solidFill>
            </a:rPr>
            <a:t>Теплоснабжение </a:t>
          </a:r>
          <a:r>
            <a:rPr lang="ru-RU" sz="1000" b="1" dirty="0" err="1" smtClean="0">
              <a:ln>
                <a:noFill/>
              </a:ln>
              <a:solidFill>
                <a:schemeClr val="tx1"/>
              </a:solidFill>
            </a:rPr>
            <a:t>руб</a:t>
          </a:r>
          <a:r>
            <a:rPr lang="ru-RU" sz="1000" b="1" dirty="0" smtClean="0">
              <a:ln>
                <a:noFill/>
              </a:ln>
              <a:solidFill>
                <a:schemeClr val="tx1"/>
              </a:solidFill>
            </a:rPr>
            <a:t>/Гкал</a:t>
          </a:r>
          <a:endParaRPr lang="ru-RU" sz="1000" b="1" dirty="0">
            <a:ln>
              <a:noFill/>
            </a:ln>
            <a:solidFill>
              <a:schemeClr val="tx1"/>
            </a:solidFill>
          </a:endParaRPr>
        </a:p>
      </dgm:t>
    </dgm:pt>
    <dgm:pt modelId="{EC6E2AF8-9736-4271-B632-D1A777A5B047}" type="parTrans" cxnId="{0D95DE93-D19D-4BE7-B85B-3DE51E6BA96B}">
      <dgm:prSet/>
      <dgm:spPr/>
      <dgm:t>
        <a:bodyPr/>
        <a:lstStyle/>
        <a:p>
          <a:pPr>
            <a:lnSpc>
              <a:spcPct val="100000"/>
            </a:lnSpc>
          </a:pPr>
          <a:endParaRPr lang="ru-RU" sz="1400" b="1"/>
        </a:p>
      </dgm:t>
    </dgm:pt>
    <dgm:pt modelId="{8FEDB42F-9C58-414E-AA76-060A2FB456FF}" type="sibTrans" cxnId="{0D95DE93-D19D-4BE7-B85B-3DE51E6BA96B}">
      <dgm:prSet/>
      <dgm:spPr/>
      <dgm:t>
        <a:bodyPr/>
        <a:lstStyle/>
        <a:p>
          <a:pPr>
            <a:lnSpc>
              <a:spcPct val="100000"/>
            </a:lnSpc>
          </a:pPr>
          <a:endParaRPr lang="ru-RU" sz="1400" b="1"/>
        </a:p>
      </dgm:t>
    </dgm:pt>
    <dgm:pt modelId="{0B0EEEB7-3418-4075-80F0-08485E22010A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1000" b="1" dirty="0" smtClean="0">
              <a:ln>
                <a:noFill/>
              </a:ln>
              <a:solidFill>
                <a:schemeClr val="tx1"/>
              </a:solidFill>
            </a:rPr>
            <a:t>Водоснабжение </a:t>
          </a:r>
          <a:r>
            <a:rPr lang="ru-RU" sz="1000" b="1" dirty="0" err="1" smtClean="0">
              <a:ln>
                <a:noFill/>
              </a:ln>
              <a:solidFill>
                <a:schemeClr val="tx1"/>
              </a:solidFill>
            </a:rPr>
            <a:t>руб</a:t>
          </a:r>
          <a:r>
            <a:rPr lang="ru-RU" sz="1000" b="1" dirty="0" smtClean="0">
              <a:ln>
                <a:noFill/>
              </a:ln>
              <a:solidFill>
                <a:schemeClr val="tx1"/>
              </a:solidFill>
            </a:rPr>
            <a:t>/м3</a:t>
          </a:r>
          <a:endParaRPr lang="ru-RU" sz="1000" b="1" dirty="0">
            <a:ln>
              <a:noFill/>
            </a:ln>
            <a:solidFill>
              <a:schemeClr val="tx1"/>
            </a:solidFill>
          </a:endParaRPr>
        </a:p>
      </dgm:t>
    </dgm:pt>
    <dgm:pt modelId="{D6D65466-D3C7-4E8F-B3B9-C503976F9D61}" type="parTrans" cxnId="{5A95059D-51D6-4D3B-9253-BF88A0B01545}">
      <dgm:prSet/>
      <dgm:spPr/>
      <dgm:t>
        <a:bodyPr/>
        <a:lstStyle/>
        <a:p>
          <a:pPr>
            <a:lnSpc>
              <a:spcPct val="100000"/>
            </a:lnSpc>
          </a:pPr>
          <a:endParaRPr lang="ru-RU" sz="1400" b="1"/>
        </a:p>
      </dgm:t>
    </dgm:pt>
    <dgm:pt modelId="{0B83E4A4-B25B-4FB2-A90C-765A8A377CB6}" type="sibTrans" cxnId="{5A95059D-51D6-4D3B-9253-BF88A0B01545}">
      <dgm:prSet/>
      <dgm:spPr/>
      <dgm:t>
        <a:bodyPr/>
        <a:lstStyle/>
        <a:p>
          <a:pPr>
            <a:lnSpc>
              <a:spcPct val="100000"/>
            </a:lnSpc>
          </a:pPr>
          <a:endParaRPr lang="ru-RU" sz="1400" b="1"/>
        </a:p>
      </dgm:t>
    </dgm:pt>
    <dgm:pt modelId="{00575ACA-C387-4BB4-ADFD-1B2BFC94BEE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1000" b="1" dirty="0" smtClean="0">
              <a:ln>
                <a:noFill/>
              </a:ln>
              <a:solidFill>
                <a:schemeClr val="tx1"/>
              </a:solidFill>
            </a:rPr>
            <a:t>Водоотведение </a:t>
          </a:r>
          <a:r>
            <a:rPr lang="ru-RU" sz="1000" b="1" dirty="0" err="1" smtClean="0">
              <a:ln>
                <a:noFill/>
              </a:ln>
              <a:solidFill>
                <a:schemeClr val="tx1"/>
              </a:solidFill>
            </a:rPr>
            <a:t>руб</a:t>
          </a:r>
          <a:r>
            <a:rPr lang="ru-RU" sz="1000" b="1" dirty="0" smtClean="0">
              <a:ln>
                <a:noFill/>
              </a:ln>
              <a:solidFill>
                <a:schemeClr val="tx1"/>
              </a:solidFill>
            </a:rPr>
            <a:t>/м3</a:t>
          </a:r>
          <a:endParaRPr lang="ru-RU" sz="1000" b="1" dirty="0">
            <a:ln>
              <a:noFill/>
            </a:ln>
            <a:solidFill>
              <a:schemeClr val="tx1"/>
            </a:solidFill>
          </a:endParaRPr>
        </a:p>
      </dgm:t>
    </dgm:pt>
    <dgm:pt modelId="{2C2A25AA-EA06-4583-B533-98D7CC1C1062}" type="parTrans" cxnId="{753D44EB-733B-4CCB-BF29-25FE421F64CB}">
      <dgm:prSet/>
      <dgm:spPr/>
      <dgm:t>
        <a:bodyPr/>
        <a:lstStyle/>
        <a:p>
          <a:pPr>
            <a:lnSpc>
              <a:spcPct val="100000"/>
            </a:lnSpc>
          </a:pPr>
          <a:endParaRPr lang="ru-RU" sz="1400" b="1"/>
        </a:p>
      </dgm:t>
    </dgm:pt>
    <dgm:pt modelId="{5BD23F4A-F4D7-4701-8FFD-A4CDDFBC6310}" type="sibTrans" cxnId="{753D44EB-733B-4CCB-BF29-25FE421F64CB}">
      <dgm:prSet/>
      <dgm:spPr/>
      <dgm:t>
        <a:bodyPr/>
        <a:lstStyle/>
        <a:p>
          <a:pPr>
            <a:lnSpc>
              <a:spcPct val="100000"/>
            </a:lnSpc>
          </a:pPr>
          <a:endParaRPr lang="ru-RU" sz="1400" b="1"/>
        </a:p>
      </dgm:t>
    </dgm:pt>
    <dgm:pt modelId="{A420A148-CD3A-4180-AF7A-590D94CB1CF3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1000" b="1" dirty="0" smtClean="0">
              <a:ln>
                <a:noFill/>
              </a:ln>
              <a:solidFill>
                <a:schemeClr val="tx1"/>
              </a:solidFill>
            </a:rPr>
            <a:t>       Электроснабжение </a:t>
          </a:r>
          <a:r>
            <a:rPr lang="ru-RU" sz="1000" b="1" dirty="0" err="1" smtClean="0">
              <a:ln>
                <a:noFill/>
              </a:ln>
              <a:solidFill>
                <a:schemeClr val="tx1"/>
              </a:solidFill>
            </a:rPr>
            <a:t>руб</a:t>
          </a:r>
          <a:r>
            <a:rPr lang="ru-RU" sz="1000" b="1" dirty="0" smtClean="0">
              <a:ln>
                <a:noFill/>
              </a:ln>
              <a:solidFill>
                <a:schemeClr val="tx1"/>
              </a:solidFill>
            </a:rPr>
            <a:t>/</a:t>
          </a:r>
          <a:r>
            <a:rPr lang="ru-RU" sz="1000" b="1" dirty="0" err="1" smtClean="0">
              <a:ln>
                <a:noFill/>
              </a:ln>
              <a:solidFill>
                <a:schemeClr val="tx1"/>
              </a:solidFill>
            </a:rPr>
            <a:t>кВтч</a:t>
          </a:r>
          <a:endParaRPr lang="ru-RU" sz="1000" b="1" dirty="0">
            <a:ln>
              <a:noFill/>
            </a:ln>
            <a:solidFill>
              <a:schemeClr val="tx1"/>
            </a:solidFill>
          </a:endParaRPr>
        </a:p>
      </dgm:t>
    </dgm:pt>
    <dgm:pt modelId="{79ADEC20-172C-4238-9319-240D26811FB2}" type="parTrans" cxnId="{EAABC2E1-BB71-43A3-94A2-BD87E87CF6D5}">
      <dgm:prSet/>
      <dgm:spPr/>
      <dgm:t>
        <a:bodyPr/>
        <a:lstStyle/>
        <a:p>
          <a:pPr>
            <a:lnSpc>
              <a:spcPct val="100000"/>
            </a:lnSpc>
          </a:pPr>
          <a:endParaRPr lang="ru-RU" sz="1400" b="1"/>
        </a:p>
      </dgm:t>
    </dgm:pt>
    <dgm:pt modelId="{906CAEA3-8DCC-4A4A-9197-A36FBA54A00B}" type="sibTrans" cxnId="{EAABC2E1-BB71-43A3-94A2-BD87E87CF6D5}">
      <dgm:prSet/>
      <dgm:spPr/>
      <dgm:t>
        <a:bodyPr/>
        <a:lstStyle/>
        <a:p>
          <a:pPr>
            <a:lnSpc>
              <a:spcPct val="100000"/>
            </a:lnSpc>
          </a:pPr>
          <a:endParaRPr lang="ru-RU" sz="1400" b="1"/>
        </a:p>
      </dgm:t>
    </dgm:pt>
    <dgm:pt modelId="{B4E9D314-CC87-45D8-AC1A-D37558C878D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1000" b="1" dirty="0" smtClean="0">
              <a:ln>
                <a:noFill/>
              </a:ln>
              <a:solidFill>
                <a:schemeClr val="tx1"/>
              </a:solidFill>
            </a:rPr>
            <a:t>Газоснабжение </a:t>
          </a:r>
          <a:r>
            <a:rPr lang="ru-RU" sz="1000" b="1" dirty="0" err="1" smtClean="0">
              <a:ln>
                <a:noFill/>
              </a:ln>
              <a:solidFill>
                <a:schemeClr val="tx1"/>
              </a:solidFill>
            </a:rPr>
            <a:t>руб</a:t>
          </a:r>
          <a:r>
            <a:rPr lang="ru-RU" sz="1000" b="1" dirty="0" smtClean="0">
              <a:ln>
                <a:noFill/>
              </a:ln>
              <a:solidFill>
                <a:schemeClr val="tx1"/>
              </a:solidFill>
            </a:rPr>
            <a:t>/м3</a:t>
          </a:r>
          <a:endParaRPr lang="ru-RU" sz="1000" b="1" dirty="0">
            <a:ln>
              <a:noFill/>
            </a:ln>
            <a:solidFill>
              <a:schemeClr val="tx1"/>
            </a:solidFill>
          </a:endParaRPr>
        </a:p>
      </dgm:t>
    </dgm:pt>
    <dgm:pt modelId="{243235BE-FDF5-4854-AA1B-A678BDA2D8B2}" type="parTrans" cxnId="{C4E54557-7872-465C-96ED-EB0451E8BDD5}">
      <dgm:prSet/>
      <dgm:spPr/>
      <dgm:t>
        <a:bodyPr/>
        <a:lstStyle/>
        <a:p>
          <a:pPr>
            <a:lnSpc>
              <a:spcPct val="100000"/>
            </a:lnSpc>
          </a:pPr>
          <a:endParaRPr lang="ru-RU" sz="1400" b="1"/>
        </a:p>
      </dgm:t>
    </dgm:pt>
    <dgm:pt modelId="{03D8956F-E5AF-4AFB-88CA-6F876F28F876}" type="sibTrans" cxnId="{C4E54557-7872-465C-96ED-EB0451E8BDD5}">
      <dgm:prSet/>
      <dgm:spPr/>
      <dgm:t>
        <a:bodyPr/>
        <a:lstStyle/>
        <a:p>
          <a:pPr>
            <a:lnSpc>
              <a:spcPct val="100000"/>
            </a:lnSpc>
          </a:pPr>
          <a:endParaRPr lang="ru-RU" sz="1400" b="1"/>
        </a:p>
      </dgm:t>
    </dgm:pt>
    <dgm:pt modelId="{D3AE978C-494B-41A3-B686-3D9FDCD47707}" type="pres">
      <dgm:prSet presAssocID="{3F3692B3-BCBF-46B2-BE36-9E9229C2EB6C}" presName="linearFlow" presStyleCnt="0">
        <dgm:presLayoutVars>
          <dgm:dir/>
          <dgm:resizeHandles val="exact"/>
        </dgm:presLayoutVars>
      </dgm:prSet>
      <dgm:spPr/>
    </dgm:pt>
    <dgm:pt modelId="{B502AAC8-F1B0-49FF-8154-51F1DE6A5FC1}" type="pres">
      <dgm:prSet presAssocID="{8704EEF8-31BC-483A-9DF1-F9DF3352D699}" presName="composite" presStyleCnt="0"/>
      <dgm:spPr/>
    </dgm:pt>
    <dgm:pt modelId="{E17B80E1-7BAB-4E41-A74B-EC1A9DBAD870}" type="pres">
      <dgm:prSet presAssocID="{8704EEF8-31BC-483A-9DF1-F9DF3352D699}" presName="imgShp" presStyleLbl="fgImgPlace1" presStyleIdx="0" presStyleCnt="5" custScaleX="43914" custScaleY="43913"/>
      <dgm:spPr>
        <a:solidFill>
          <a:srgbClr val="C00000"/>
        </a:solidFill>
        <a:ln>
          <a:solidFill>
            <a:srgbClr val="C00000"/>
          </a:solidFill>
        </a:ln>
      </dgm:spPr>
    </dgm:pt>
    <dgm:pt modelId="{CA317B56-0599-4F56-A0B7-415975366334}" type="pres">
      <dgm:prSet presAssocID="{8704EEF8-31BC-483A-9DF1-F9DF3352D699}" presName="txShp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41F1531-1F86-47AC-9682-8A98E07CB27E}" type="pres">
      <dgm:prSet presAssocID="{8FEDB42F-9C58-414E-AA76-060A2FB456FF}" presName="spacing" presStyleCnt="0"/>
      <dgm:spPr/>
    </dgm:pt>
    <dgm:pt modelId="{A5F20255-A99A-4859-9275-EC1E9396587C}" type="pres">
      <dgm:prSet presAssocID="{0B0EEEB7-3418-4075-80F0-08485E22010A}" presName="composite" presStyleCnt="0"/>
      <dgm:spPr/>
    </dgm:pt>
    <dgm:pt modelId="{185E2DE2-1D5B-4B4D-B945-DFDDF2C33608}" type="pres">
      <dgm:prSet presAssocID="{0B0EEEB7-3418-4075-80F0-08485E22010A}" presName="imgShp" presStyleLbl="fgImgPlace1" presStyleIdx="1" presStyleCnt="5" custScaleX="43914" custScaleY="43913"/>
      <dgm:spPr>
        <a:solidFill>
          <a:schemeClr val="tx2"/>
        </a:solidFill>
        <a:ln>
          <a:solidFill>
            <a:schemeClr val="tx2"/>
          </a:solidFill>
        </a:ln>
      </dgm:spPr>
    </dgm:pt>
    <dgm:pt modelId="{BD7E4BD3-B707-4DAE-862C-B2CCAE37C549}" type="pres">
      <dgm:prSet presAssocID="{0B0EEEB7-3418-4075-80F0-08485E22010A}" presName="txShp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3DB4B76-A7F4-44CC-980A-61F2EC094096}" type="pres">
      <dgm:prSet presAssocID="{0B83E4A4-B25B-4FB2-A90C-765A8A377CB6}" presName="spacing" presStyleCnt="0"/>
      <dgm:spPr/>
    </dgm:pt>
    <dgm:pt modelId="{6A9B6AAF-EB12-48E2-A5F4-9983EEF05B0C}" type="pres">
      <dgm:prSet presAssocID="{00575ACA-C387-4BB4-ADFD-1B2BFC94BEE9}" presName="composite" presStyleCnt="0"/>
      <dgm:spPr/>
    </dgm:pt>
    <dgm:pt modelId="{F13C8B11-2853-4A6E-A433-AAA58C84128B}" type="pres">
      <dgm:prSet presAssocID="{00575ACA-C387-4BB4-ADFD-1B2BFC94BEE9}" presName="imgShp" presStyleLbl="fgImgPlace1" presStyleIdx="2" presStyleCnt="5" custScaleX="43914" custScaleY="43913"/>
      <dgm:spPr>
        <a:solidFill>
          <a:srgbClr val="92D050"/>
        </a:solidFill>
        <a:ln>
          <a:solidFill>
            <a:srgbClr val="92D050"/>
          </a:solidFill>
        </a:ln>
      </dgm:spPr>
    </dgm:pt>
    <dgm:pt modelId="{CC97B532-372C-4341-9F51-4EDF589A5E16}" type="pres">
      <dgm:prSet presAssocID="{00575ACA-C387-4BB4-ADFD-1B2BFC94BEE9}" presName="txShp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C782933-305D-4A66-86EB-142BD8744A28}" type="pres">
      <dgm:prSet presAssocID="{5BD23F4A-F4D7-4701-8FFD-A4CDDFBC6310}" presName="spacing" presStyleCnt="0"/>
      <dgm:spPr/>
    </dgm:pt>
    <dgm:pt modelId="{16C816EF-B28F-4EAF-B312-D0043B8DBD1F}" type="pres">
      <dgm:prSet presAssocID="{B4E9D314-CC87-45D8-AC1A-D37558C878D9}" presName="composite" presStyleCnt="0"/>
      <dgm:spPr/>
    </dgm:pt>
    <dgm:pt modelId="{1406A248-9C69-41E6-8D85-0ED4F0938136}" type="pres">
      <dgm:prSet presAssocID="{B4E9D314-CC87-45D8-AC1A-D37558C878D9}" presName="imgShp" presStyleLbl="fgImgPlace1" presStyleIdx="3" presStyleCnt="5" custScaleX="43914" custScaleY="43913"/>
      <dgm:spPr>
        <a:solidFill>
          <a:schemeClr val="accent1">
            <a:lumMod val="60000"/>
            <a:lumOff val="40000"/>
          </a:schemeClr>
        </a:solidFill>
        <a:ln>
          <a:solidFill>
            <a:schemeClr val="accent1">
              <a:lumMod val="60000"/>
              <a:lumOff val="40000"/>
            </a:schemeClr>
          </a:solidFill>
        </a:ln>
      </dgm:spPr>
    </dgm:pt>
    <dgm:pt modelId="{94F11791-EE9D-458C-9C0D-8C4DF815BFCA}" type="pres">
      <dgm:prSet presAssocID="{B4E9D314-CC87-45D8-AC1A-D37558C878D9}" presName="txShp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C48A2A1-744E-4215-9C21-5D84FCA67219}" type="pres">
      <dgm:prSet presAssocID="{03D8956F-E5AF-4AFB-88CA-6F876F28F876}" presName="spacing" presStyleCnt="0"/>
      <dgm:spPr/>
    </dgm:pt>
    <dgm:pt modelId="{C664E10B-C7A1-4921-9D3A-2CABBD9A32A8}" type="pres">
      <dgm:prSet presAssocID="{A420A148-CD3A-4180-AF7A-590D94CB1CF3}" presName="composite" presStyleCnt="0"/>
      <dgm:spPr/>
    </dgm:pt>
    <dgm:pt modelId="{46B86910-D26B-4F95-9827-3ADC43AE18EE}" type="pres">
      <dgm:prSet presAssocID="{A420A148-CD3A-4180-AF7A-590D94CB1CF3}" presName="imgShp" presStyleLbl="fgImgPlace1" presStyleIdx="4" presStyleCnt="5" custScaleX="43914" custScaleY="43913"/>
      <dgm:spPr>
        <a:solidFill>
          <a:srgbClr val="7030A0"/>
        </a:solidFill>
        <a:ln>
          <a:solidFill>
            <a:srgbClr val="7030A0"/>
          </a:solidFill>
        </a:ln>
      </dgm:spPr>
    </dgm:pt>
    <dgm:pt modelId="{D0FD797F-4E73-4FC3-B01F-0D74CF9244CE}" type="pres">
      <dgm:prSet presAssocID="{A420A148-CD3A-4180-AF7A-590D94CB1CF3}" presName="txShp" presStyleLbl="node1" presStyleIdx="4" presStyleCnt="5" custScaleX="123276" custScaleY="12210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AF1FC57-78E2-4BB5-A56A-5E2F1905665F}" type="presOf" srcId="{0B0EEEB7-3418-4075-80F0-08485E22010A}" destId="{BD7E4BD3-B707-4DAE-862C-B2CCAE37C549}" srcOrd="0" destOrd="0" presId="urn:microsoft.com/office/officeart/2005/8/layout/vList3"/>
    <dgm:cxn modelId="{753D44EB-733B-4CCB-BF29-25FE421F64CB}" srcId="{3F3692B3-BCBF-46B2-BE36-9E9229C2EB6C}" destId="{00575ACA-C387-4BB4-ADFD-1B2BFC94BEE9}" srcOrd="2" destOrd="0" parTransId="{2C2A25AA-EA06-4583-B533-98D7CC1C1062}" sibTransId="{5BD23F4A-F4D7-4701-8FFD-A4CDDFBC6310}"/>
    <dgm:cxn modelId="{99E3FB6B-8D9E-4663-B1A9-B8DCC8DA45E7}" type="presOf" srcId="{3F3692B3-BCBF-46B2-BE36-9E9229C2EB6C}" destId="{D3AE978C-494B-41A3-B686-3D9FDCD47707}" srcOrd="0" destOrd="0" presId="urn:microsoft.com/office/officeart/2005/8/layout/vList3"/>
    <dgm:cxn modelId="{5A95059D-51D6-4D3B-9253-BF88A0B01545}" srcId="{3F3692B3-BCBF-46B2-BE36-9E9229C2EB6C}" destId="{0B0EEEB7-3418-4075-80F0-08485E22010A}" srcOrd="1" destOrd="0" parTransId="{D6D65466-D3C7-4E8F-B3B9-C503976F9D61}" sibTransId="{0B83E4A4-B25B-4FB2-A90C-765A8A377CB6}"/>
    <dgm:cxn modelId="{0D95DE93-D19D-4BE7-B85B-3DE51E6BA96B}" srcId="{3F3692B3-BCBF-46B2-BE36-9E9229C2EB6C}" destId="{8704EEF8-31BC-483A-9DF1-F9DF3352D699}" srcOrd="0" destOrd="0" parTransId="{EC6E2AF8-9736-4271-B632-D1A777A5B047}" sibTransId="{8FEDB42F-9C58-414E-AA76-060A2FB456FF}"/>
    <dgm:cxn modelId="{EAABC2E1-BB71-43A3-94A2-BD87E87CF6D5}" srcId="{3F3692B3-BCBF-46B2-BE36-9E9229C2EB6C}" destId="{A420A148-CD3A-4180-AF7A-590D94CB1CF3}" srcOrd="4" destOrd="0" parTransId="{79ADEC20-172C-4238-9319-240D26811FB2}" sibTransId="{906CAEA3-8DCC-4A4A-9197-A36FBA54A00B}"/>
    <dgm:cxn modelId="{D5D2AF51-F1BF-4970-8971-8ACE1B6D58A6}" type="presOf" srcId="{B4E9D314-CC87-45D8-AC1A-D37558C878D9}" destId="{94F11791-EE9D-458C-9C0D-8C4DF815BFCA}" srcOrd="0" destOrd="0" presId="urn:microsoft.com/office/officeart/2005/8/layout/vList3"/>
    <dgm:cxn modelId="{C4E54557-7872-465C-96ED-EB0451E8BDD5}" srcId="{3F3692B3-BCBF-46B2-BE36-9E9229C2EB6C}" destId="{B4E9D314-CC87-45D8-AC1A-D37558C878D9}" srcOrd="3" destOrd="0" parTransId="{243235BE-FDF5-4854-AA1B-A678BDA2D8B2}" sibTransId="{03D8956F-E5AF-4AFB-88CA-6F876F28F876}"/>
    <dgm:cxn modelId="{644D6727-1975-4B6A-B9B6-9B481109C63B}" type="presOf" srcId="{A420A148-CD3A-4180-AF7A-590D94CB1CF3}" destId="{D0FD797F-4E73-4FC3-B01F-0D74CF9244CE}" srcOrd="0" destOrd="0" presId="urn:microsoft.com/office/officeart/2005/8/layout/vList3"/>
    <dgm:cxn modelId="{FC5D4C43-52C4-4F93-8873-902BFCBF9A6D}" type="presOf" srcId="{00575ACA-C387-4BB4-ADFD-1B2BFC94BEE9}" destId="{CC97B532-372C-4341-9F51-4EDF589A5E16}" srcOrd="0" destOrd="0" presId="urn:microsoft.com/office/officeart/2005/8/layout/vList3"/>
    <dgm:cxn modelId="{DA2F10FE-EDF7-4A9F-A2F3-FF67FD775793}" type="presOf" srcId="{8704EEF8-31BC-483A-9DF1-F9DF3352D699}" destId="{CA317B56-0599-4F56-A0B7-415975366334}" srcOrd="0" destOrd="0" presId="urn:microsoft.com/office/officeart/2005/8/layout/vList3"/>
    <dgm:cxn modelId="{32BE8BA6-7311-4DC2-9E22-8F19BB737492}" type="presParOf" srcId="{D3AE978C-494B-41A3-B686-3D9FDCD47707}" destId="{B502AAC8-F1B0-49FF-8154-51F1DE6A5FC1}" srcOrd="0" destOrd="0" presId="urn:microsoft.com/office/officeart/2005/8/layout/vList3"/>
    <dgm:cxn modelId="{3A3386CB-6AA4-4FC3-927E-140D657DAA07}" type="presParOf" srcId="{B502AAC8-F1B0-49FF-8154-51F1DE6A5FC1}" destId="{E17B80E1-7BAB-4E41-A74B-EC1A9DBAD870}" srcOrd="0" destOrd="0" presId="urn:microsoft.com/office/officeart/2005/8/layout/vList3"/>
    <dgm:cxn modelId="{1FECA94C-7620-4731-B19A-EADB79C0C072}" type="presParOf" srcId="{B502AAC8-F1B0-49FF-8154-51F1DE6A5FC1}" destId="{CA317B56-0599-4F56-A0B7-415975366334}" srcOrd="1" destOrd="0" presId="urn:microsoft.com/office/officeart/2005/8/layout/vList3"/>
    <dgm:cxn modelId="{CDA0ED70-BA3F-4CFF-A871-52F0E730B2AD}" type="presParOf" srcId="{D3AE978C-494B-41A3-B686-3D9FDCD47707}" destId="{D41F1531-1F86-47AC-9682-8A98E07CB27E}" srcOrd="1" destOrd="0" presId="urn:microsoft.com/office/officeart/2005/8/layout/vList3"/>
    <dgm:cxn modelId="{115900A3-F5FB-43F8-94E5-864EA0D7C160}" type="presParOf" srcId="{D3AE978C-494B-41A3-B686-3D9FDCD47707}" destId="{A5F20255-A99A-4859-9275-EC1E9396587C}" srcOrd="2" destOrd="0" presId="urn:microsoft.com/office/officeart/2005/8/layout/vList3"/>
    <dgm:cxn modelId="{DEAAC7D4-D34B-4934-980A-4FB2C7BD6C13}" type="presParOf" srcId="{A5F20255-A99A-4859-9275-EC1E9396587C}" destId="{185E2DE2-1D5B-4B4D-B945-DFDDF2C33608}" srcOrd="0" destOrd="0" presId="urn:microsoft.com/office/officeart/2005/8/layout/vList3"/>
    <dgm:cxn modelId="{0563575D-4141-4223-9609-286FA833D2CC}" type="presParOf" srcId="{A5F20255-A99A-4859-9275-EC1E9396587C}" destId="{BD7E4BD3-B707-4DAE-862C-B2CCAE37C549}" srcOrd="1" destOrd="0" presId="urn:microsoft.com/office/officeart/2005/8/layout/vList3"/>
    <dgm:cxn modelId="{D3567375-0E31-4559-96DC-449414716588}" type="presParOf" srcId="{D3AE978C-494B-41A3-B686-3D9FDCD47707}" destId="{13DB4B76-A7F4-44CC-980A-61F2EC094096}" srcOrd="3" destOrd="0" presId="urn:microsoft.com/office/officeart/2005/8/layout/vList3"/>
    <dgm:cxn modelId="{1EA32C7F-AD08-400D-B337-0047747A480C}" type="presParOf" srcId="{D3AE978C-494B-41A3-B686-3D9FDCD47707}" destId="{6A9B6AAF-EB12-48E2-A5F4-9983EEF05B0C}" srcOrd="4" destOrd="0" presId="urn:microsoft.com/office/officeart/2005/8/layout/vList3"/>
    <dgm:cxn modelId="{7FD84663-876D-472E-8D4D-91EE6F74DEE2}" type="presParOf" srcId="{6A9B6AAF-EB12-48E2-A5F4-9983EEF05B0C}" destId="{F13C8B11-2853-4A6E-A433-AAA58C84128B}" srcOrd="0" destOrd="0" presId="urn:microsoft.com/office/officeart/2005/8/layout/vList3"/>
    <dgm:cxn modelId="{E45C6433-A4C0-4A30-A130-82CEAF36FA1D}" type="presParOf" srcId="{6A9B6AAF-EB12-48E2-A5F4-9983EEF05B0C}" destId="{CC97B532-372C-4341-9F51-4EDF589A5E16}" srcOrd="1" destOrd="0" presId="urn:microsoft.com/office/officeart/2005/8/layout/vList3"/>
    <dgm:cxn modelId="{AAF6D008-322E-4AE0-B270-B8876F60F29D}" type="presParOf" srcId="{D3AE978C-494B-41A3-B686-3D9FDCD47707}" destId="{3C782933-305D-4A66-86EB-142BD8744A28}" srcOrd="5" destOrd="0" presId="urn:microsoft.com/office/officeart/2005/8/layout/vList3"/>
    <dgm:cxn modelId="{BE54DEDB-8AA9-4978-B529-4611836ED484}" type="presParOf" srcId="{D3AE978C-494B-41A3-B686-3D9FDCD47707}" destId="{16C816EF-B28F-4EAF-B312-D0043B8DBD1F}" srcOrd="6" destOrd="0" presId="urn:microsoft.com/office/officeart/2005/8/layout/vList3"/>
    <dgm:cxn modelId="{17DD92B8-EA80-4FF1-BE55-83762C064C17}" type="presParOf" srcId="{16C816EF-B28F-4EAF-B312-D0043B8DBD1F}" destId="{1406A248-9C69-41E6-8D85-0ED4F0938136}" srcOrd="0" destOrd="0" presId="urn:microsoft.com/office/officeart/2005/8/layout/vList3"/>
    <dgm:cxn modelId="{5ABA3A9C-1261-40BD-89BB-48F73D1BC471}" type="presParOf" srcId="{16C816EF-B28F-4EAF-B312-D0043B8DBD1F}" destId="{94F11791-EE9D-458C-9C0D-8C4DF815BFCA}" srcOrd="1" destOrd="0" presId="urn:microsoft.com/office/officeart/2005/8/layout/vList3"/>
    <dgm:cxn modelId="{80C255B7-F175-4E84-A507-9C97FEFBA03D}" type="presParOf" srcId="{D3AE978C-494B-41A3-B686-3D9FDCD47707}" destId="{AC48A2A1-744E-4215-9C21-5D84FCA67219}" srcOrd="7" destOrd="0" presId="urn:microsoft.com/office/officeart/2005/8/layout/vList3"/>
    <dgm:cxn modelId="{F3329403-ACB9-4668-97E6-ABE5E0CB1216}" type="presParOf" srcId="{D3AE978C-494B-41A3-B686-3D9FDCD47707}" destId="{C664E10B-C7A1-4921-9D3A-2CABBD9A32A8}" srcOrd="8" destOrd="0" presId="urn:microsoft.com/office/officeart/2005/8/layout/vList3"/>
    <dgm:cxn modelId="{C6D1F2FB-DCFA-4D49-A38E-85D0CD0B5047}" type="presParOf" srcId="{C664E10B-C7A1-4921-9D3A-2CABBD9A32A8}" destId="{46B86910-D26B-4F95-9827-3ADC43AE18EE}" srcOrd="0" destOrd="0" presId="urn:microsoft.com/office/officeart/2005/8/layout/vList3"/>
    <dgm:cxn modelId="{9FC6BB2D-09BC-4B04-A372-2E7D10E01CE2}" type="presParOf" srcId="{C664E10B-C7A1-4921-9D3A-2CABBD9A32A8}" destId="{D0FD797F-4E73-4FC3-B01F-0D74CF9244CE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92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F3692B3-BCBF-46B2-BE36-9E9229C2EB6C}" type="doc">
      <dgm:prSet loTypeId="urn:microsoft.com/office/officeart/2005/8/layout/vList3" loCatId="list" qsTypeId="urn:microsoft.com/office/officeart/2005/8/quickstyle/simple1" qsCatId="simple" csTypeId="urn:microsoft.com/office/officeart/2005/8/colors/colorful3" csCatId="colorful" phldr="1"/>
      <dgm:spPr/>
    </dgm:pt>
    <dgm:pt modelId="{8704EEF8-31BC-483A-9DF1-F9DF3352D69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613,78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EC6E2AF8-9736-4271-B632-D1A777A5B047}" type="parTrans" cxnId="{0D95DE93-D19D-4BE7-B85B-3DE51E6BA96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8FEDB42F-9C58-414E-AA76-060A2FB456FF}" type="sibTrans" cxnId="{0D95DE93-D19D-4BE7-B85B-3DE51E6BA96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B0EEEB7-3418-4075-80F0-08485E22010A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26,72 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D6D65466-D3C7-4E8F-B3B9-C503976F9D61}" type="parTrans" cxnId="{5A95059D-51D6-4D3B-9253-BF88A0B0154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B83E4A4-B25B-4FB2-A90C-765A8A377CB6}" type="sibTrans" cxnId="{5A95059D-51D6-4D3B-9253-BF88A0B0154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0575ACA-C387-4BB4-ADFD-1B2BFC94BEE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14,80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2C2A25AA-EA06-4583-B533-98D7CC1C1062}" type="parTrans" cxnId="{753D44EB-733B-4CCB-BF29-25FE421F64C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5BD23F4A-F4D7-4701-8FFD-A4CDDFBC6310}" type="sibTrans" cxnId="{753D44EB-733B-4CCB-BF29-25FE421F64C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A420A148-CD3A-4180-AF7A-590D94CB1CF3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3,68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79ADEC20-172C-4238-9319-240D26811FB2}" type="parTrans" cxnId="{EAABC2E1-BB71-43A3-94A2-BD87E87CF6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906CAEA3-8DCC-4A4A-9197-A36FBA54A00B}" type="sibTrans" cxnId="{EAABC2E1-BB71-43A3-94A2-BD87E87CF6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B4E9D314-CC87-45D8-AC1A-D37558C878D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kk-KZ" sz="800" b="1" dirty="0" smtClean="0">
              <a:ln>
                <a:noFill/>
              </a:ln>
              <a:solidFill>
                <a:schemeClr val="tx1"/>
              </a:solidFill>
            </a:rPr>
            <a:t>65,68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243235BE-FDF5-4854-AA1B-A678BDA2D8B2}" type="parTrans" cxnId="{C4E54557-7872-465C-96ED-EB0451E8BD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3D8956F-E5AF-4AFB-88CA-6F876F28F876}" type="sibTrans" cxnId="{C4E54557-7872-465C-96ED-EB0451E8BD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D3AE978C-494B-41A3-B686-3D9FDCD47707}" type="pres">
      <dgm:prSet presAssocID="{3F3692B3-BCBF-46B2-BE36-9E9229C2EB6C}" presName="linearFlow" presStyleCnt="0">
        <dgm:presLayoutVars>
          <dgm:dir/>
          <dgm:resizeHandles val="exact"/>
        </dgm:presLayoutVars>
      </dgm:prSet>
      <dgm:spPr/>
    </dgm:pt>
    <dgm:pt modelId="{B502AAC8-F1B0-49FF-8154-51F1DE6A5FC1}" type="pres">
      <dgm:prSet presAssocID="{8704EEF8-31BC-483A-9DF1-F9DF3352D699}" presName="composite" presStyleCnt="0"/>
      <dgm:spPr/>
    </dgm:pt>
    <dgm:pt modelId="{E17B80E1-7BAB-4E41-A74B-EC1A9DBAD870}" type="pres">
      <dgm:prSet presAssocID="{8704EEF8-31BC-483A-9DF1-F9DF3352D699}" presName="imgShp" presStyleLbl="fgImgPlace1" presStyleIdx="0" presStyleCnt="5" custScaleX="43914" custScaleY="43913"/>
      <dgm:spPr>
        <a:solidFill>
          <a:srgbClr val="C00000"/>
        </a:solidFill>
        <a:ln>
          <a:solidFill>
            <a:srgbClr val="C00000"/>
          </a:solidFill>
        </a:ln>
      </dgm:spPr>
    </dgm:pt>
    <dgm:pt modelId="{CA317B56-0599-4F56-A0B7-415975366334}" type="pres">
      <dgm:prSet presAssocID="{8704EEF8-31BC-483A-9DF1-F9DF3352D699}" presName="txShp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41F1531-1F86-47AC-9682-8A98E07CB27E}" type="pres">
      <dgm:prSet presAssocID="{8FEDB42F-9C58-414E-AA76-060A2FB456FF}" presName="spacing" presStyleCnt="0"/>
      <dgm:spPr/>
    </dgm:pt>
    <dgm:pt modelId="{A5F20255-A99A-4859-9275-EC1E9396587C}" type="pres">
      <dgm:prSet presAssocID="{0B0EEEB7-3418-4075-80F0-08485E22010A}" presName="composite" presStyleCnt="0"/>
      <dgm:spPr/>
    </dgm:pt>
    <dgm:pt modelId="{185E2DE2-1D5B-4B4D-B945-DFDDF2C33608}" type="pres">
      <dgm:prSet presAssocID="{0B0EEEB7-3418-4075-80F0-08485E22010A}" presName="imgShp" presStyleLbl="fgImgPlace1" presStyleIdx="1" presStyleCnt="5" custScaleX="43914" custScaleY="43913"/>
      <dgm:spPr>
        <a:solidFill>
          <a:schemeClr val="tx2"/>
        </a:solidFill>
        <a:ln>
          <a:solidFill>
            <a:schemeClr val="tx2"/>
          </a:solidFill>
        </a:ln>
      </dgm:spPr>
    </dgm:pt>
    <dgm:pt modelId="{BD7E4BD3-B707-4DAE-862C-B2CCAE37C549}" type="pres">
      <dgm:prSet presAssocID="{0B0EEEB7-3418-4075-80F0-08485E22010A}" presName="txShp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3DB4B76-A7F4-44CC-980A-61F2EC094096}" type="pres">
      <dgm:prSet presAssocID="{0B83E4A4-B25B-4FB2-A90C-765A8A377CB6}" presName="spacing" presStyleCnt="0"/>
      <dgm:spPr/>
    </dgm:pt>
    <dgm:pt modelId="{6A9B6AAF-EB12-48E2-A5F4-9983EEF05B0C}" type="pres">
      <dgm:prSet presAssocID="{00575ACA-C387-4BB4-ADFD-1B2BFC94BEE9}" presName="composite" presStyleCnt="0"/>
      <dgm:spPr/>
    </dgm:pt>
    <dgm:pt modelId="{F13C8B11-2853-4A6E-A433-AAA58C84128B}" type="pres">
      <dgm:prSet presAssocID="{00575ACA-C387-4BB4-ADFD-1B2BFC94BEE9}" presName="imgShp" presStyleLbl="fgImgPlace1" presStyleIdx="2" presStyleCnt="5" custScaleX="43914" custScaleY="43913"/>
      <dgm:spPr>
        <a:solidFill>
          <a:srgbClr val="92D050"/>
        </a:solidFill>
        <a:ln>
          <a:solidFill>
            <a:srgbClr val="92D050"/>
          </a:solidFill>
        </a:ln>
      </dgm:spPr>
    </dgm:pt>
    <dgm:pt modelId="{CC97B532-372C-4341-9F51-4EDF589A5E16}" type="pres">
      <dgm:prSet presAssocID="{00575ACA-C387-4BB4-ADFD-1B2BFC94BEE9}" presName="txShp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C782933-305D-4A66-86EB-142BD8744A28}" type="pres">
      <dgm:prSet presAssocID="{5BD23F4A-F4D7-4701-8FFD-A4CDDFBC6310}" presName="spacing" presStyleCnt="0"/>
      <dgm:spPr/>
    </dgm:pt>
    <dgm:pt modelId="{16C816EF-B28F-4EAF-B312-D0043B8DBD1F}" type="pres">
      <dgm:prSet presAssocID="{B4E9D314-CC87-45D8-AC1A-D37558C878D9}" presName="composite" presStyleCnt="0"/>
      <dgm:spPr/>
    </dgm:pt>
    <dgm:pt modelId="{1406A248-9C69-41E6-8D85-0ED4F0938136}" type="pres">
      <dgm:prSet presAssocID="{B4E9D314-CC87-45D8-AC1A-D37558C878D9}" presName="imgShp" presStyleLbl="fgImgPlace1" presStyleIdx="3" presStyleCnt="5" custScaleX="43914" custScaleY="43913"/>
      <dgm:spPr>
        <a:solidFill>
          <a:schemeClr val="accent1">
            <a:lumMod val="60000"/>
            <a:lumOff val="40000"/>
          </a:schemeClr>
        </a:solidFill>
        <a:ln>
          <a:solidFill>
            <a:schemeClr val="accent1">
              <a:lumMod val="60000"/>
              <a:lumOff val="40000"/>
            </a:schemeClr>
          </a:solidFill>
        </a:ln>
      </dgm:spPr>
    </dgm:pt>
    <dgm:pt modelId="{94F11791-EE9D-458C-9C0D-8C4DF815BFCA}" type="pres">
      <dgm:prSet presAssocID="{B4E9D314-CC87-45D8-AC1A-D37558C878D9}" presName="txShp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C48A2A1-744E-4215-9C21-5D84FCA67219}" type="pres">
      <dgm:prSet presAssocID="{03D8956F-E5AF-4AFB-88CA-6F876F28F876}" presName="spacing" presStyleCnt="0"/>
      <dgm:spPr/>
    </dgm:pt>
    <dgm:pt modelId="{C664E10B-C7A1-4921-9D3A-2CABBD9A32A8}" type="pres">
      <dgm:prSet presAssocID="{A420A148-CD3A-4180-AF7A-590D94CB1CF3}" presName="composite" presStyleCnt="0"/>
      <dgm:spPr/>
    </dgm:pt>
    <dgm:pt modelId="{46B86910-D26B-4F95-9827-3ADC43AE18EE}" type="pres">
      <dgm:prSet presAssocID="{A420A148-CD3A-4180-AF7A-590D94CB1CF3}" presName="imgShp" presStyleLbl="fgImgPlace1" presStyleIdx="4" presStyleCnt="5" custScaleX="43914" custScaleY="43913"/>
      <dgm:spPr>
        <a:solidFill>
          <a:srgbClr val="7030A0"/>
        </a:solidFill>
        <a:ln>
          <a:solidFill>
            <a:srgbClr val="7030A0"/>
          </a:solidFill>
        </a:ln>
      </dgm:spPr>
    </dgm:pt>
    <dgm:pt modelId="{D0FD797F-4E73-4FC3-B01F-0D74CF9244CE}" type="pres">
      <dgm:prSet presAssocID="{A420A148-CD3A-4180-AF7A-590D94CB1CF3}" presName="txShp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F25BBCE5-288D-47F1-8815-EE775E89C17C}" type="presOf" srcId="{B4E9D314-CC87-45D8-AC1A-D37558C878D9}" destId="{94F11791-EE9D-458C-9C0D-8C4DF815BFCA}" srcOrd="0" destOrd="0" presId="urn:microsoft.com/office/officeart/2005/8/layout/vList3"/>
    <dgm:cxn modelId="{753D44EB-733B-4CCB-BF29-25FE421F64CB}" srcId="{3F3692B3-BCBF-46B2-BE36-9E9229C2EB6C}" destId="{00575ACA-C387-4BB4-ADFD-1B2BFC94BEE9}" srcOrd="2" destOrd="0" parTransId="{2C2A25AA-EA06-4583-B533-98D7CC1C1062}" sibTransId="{5BD23F4A-F4D7-4701-8FFD-A4CDDFBC6310}"/>
    <dgm:cxn modelId="{5C85B592-34C3-4AF4-AF39-6B208FAA839B}" type="presOf" srcId="{00575ACA-C387-4BB4-ADFD-1B2BFC94BEE9}" destId="{CC97B532-372C-4341-9F51-4EDF589A5E16}" srcOrd="0" destOrd="0" presId="urn:microsoft.com/office/officeart/2005/8/layout/vList3"/>
    <dgm:cxn modelId="{5A95059D-51D6-4D3B-9253-BF88A0B01545}" srcId="{3F3692B3-BCBF-46B2-BE36-9E9229C2EB6C}" destId="{0B0EEEB7-3418-4075-80F0-08485E22010A}" srcOrd="1" destOrd="0" parTransId="{D6D65466-D3C7-4E8F-B3B9-C503976F9D61}" sibTransId="{0B83E4A4-B25B-4FB2-A90C-765A8A377CB6}"/>
    <dgm:cxn modelId="{0D95DE93-D19D-4BE7-B85B-3DE51E6BA96B}" srcId="{3F3692B3-BCBF-46B2-BE36-9E9229C2EB6C}" destId="{8704EEF8-31BC-483A-9DF1-F9DF3352D699}" srcOrd="0" destOrd="0" parTransId="{EC6E2AF8-9736-4271-B632-D1A777A5B047}" sibTransId="{8FEDB42F-9C58-414E-AA76-060A2FB456FF}"/>
    <dgm:cxn modelId="{EAABC2E1-BB71-43A3-94A2-BD87E87CF6D5}" srcId="{3F3692B3-BCBF-46B2-BE36-9E9229C2EB6C}" destId="{A420A148-CD3A-4180-AF7A-590D94CB1CF3}" srcOrd="4" destOrd="0" parTransId="{79ADEC20-172C-4238-9319-240D26811FB2}" sibTransId="{906CAEA3-8DCC-4A4A-9197-A36FBA54A00B}"/>
    <dgm:cxn modelId="{23204590-918E-4C2C-84B0-52DF16EE8A40}" type="presOf" srcId="{0B0EEEB7-3418-4075-80F0-08485E22010A}" destId="{BD7E4BD3-B707-4DAE-862C-B2CCAE37C549}" srcOrd="0" destOrd="0" presId="urn:microsoft.com/office/officeart/2005/8/layout/vList3"/>
    <dgm:cxn modelId="{C4E54557-7872-465C-96ED-EB0451E8BDD5}" srcId="{3F3692B3-BCBF-46B2-BE36-9E9229C2EB6C}" destId="{B4E9D314-CC87-45D8-AC1A-D37558C878D9}" srcOrd="3" destOrd="0" parTransId="{243235BE-FDF5-4854-AA1B-A678BDA2D8B2}" sibTransId="{03D8956F-E5AF-4AFB-88CA-6F876F28F876}"/>
    <dgm:cxn modelId="{F9B8C128-B32F-40B3-8503-63DD678EFE06}" type="presOf" srcId="{8704EEF8-31BC-483A-9DF1-F9DF3352D699}" destId="{CA317B56-0599-4F56-A0B7-415975366334}" srcOrd="0" destOrd="0" presId="urn:microsoft.com/office/officeart/2005/8/layout/vList3"/>
    <dgm:cxn modelId="{A701CD62-F149-4E70-902F-098E59DD4DB3}" type="presOf" srcId="{3F3692B3-BCBF-46B2-BE36-9E9229C2EB6C}" destId="{D3AE978C-494B-41A3-B686-3D9FDCD47707}" srcOrd="0" destOrd="0" presId="urn:microsoft.com/office/officeart/2005/8/layout/vList3"/>
    <dgm:cxn modelId="{3794B4F1-1CC8-483D-A65C-C4440F0AE426}" type="presOf" srcId="{A420A148-CD3A-4180-AF7A-590D94CB1CF3}" destId="{D0FD797F-4E73-4FC3-B01F-0D74CF9244CE}" srcOrd="0" destOrd="0" presId="urn:microsoft.com/office/officeart/2005/8/layout/vList3"/>
    <dgm:cxn modelId="{F9A61C92-2B65-49EF-A5EB-5C6AFFC53197}" type="presParOf" srcId="{D3AE978C-494B-41A3-B686-3D9FDCD47707}" destId="{B502AAC8-F1B0-49FF-8154-51F1DE6A5FC1}" srcOrd="0" destOrd="0" presId="urn:microsoft.com/office/officeart/2005/8/layout/vList3"/>
    <dgm:cxn modelId="{FB5CA358-20E0-440B-ACE2-F494246AEFF1}" type="presParOf" srcId="{B502AAC8-F1B0-49FF-8154-51F1DE6A5FC1}" destId="{E17B80E1-7BAB-4E41-A74B-EC1A9DBAD870}" srcOrd="0" destOrd="0" presId="urn:microsoft.com/office/officeart/2005/8/layout/vList3"/>
    <dgm:cxn modelId="{48727460-5C5A-4EB4-BE56-E51E49B27094}" type="presParOf" srcId="{B502AAC8-F1B0-49FF-8154-51F1DE6A5FC1}" destId="{CA317B56-0599-4F56-A0B7-415975366334}" srcOrd="1" destOrd="0" presId="urn:microsoft.com/office/officeart/2005/8/layout/vList3"/>
    <dgm:cxn modelId="{D879AE1F-CF3E-449A-A9F3-6BA9A47CAD12}" type="presParOf" srcId="{D3AE978C-494B-41A3-B686-3D9FDCD47707}" destId="{D41F1531-1F86-47AC-9682-8A98E07CB27E}" srcOrd="1" destOrd="0" presId="urn:microsoft.com/office/officeart/2005/8/layout/vList3"/>
    <dgm:cxn modelId="{4CE38315-AFC2-4D1B-A2FB-39F665027B8F}" type="presParOf" srcId="{D3AE978C-494B-41A3-B686-3D9FDCD47707}" destId="{A5F20255-A99A-4859-9275-EC1E9396587C}" srcOrd="2" destOrd="0" presId="urn:microsoft.com/office/officeart/2005/8/layout/vList3"/>
    <dgm:cxn modelId="{B45A6B32-7A37-4B47-9951-50D13A5F9564}" type="presParOf" srcId="{A5F20255-A99A-4859-9275-EC1E9396587C}" destId="{185E2DE2-1D5B-4B4D-B945-DFDDF2C33608}" srcOrd="0" destOrd="0" presId="urn:microsoft.com/office/officeart/2005/8/layout/vList3"/>
    <dgm:cxn modelId="{28407BBB-0EB9-4C90-A168-7C9F548ADB7F}" type="presParOf" srcId="{A5F20255-A99A-4859-9275-EC1E9396587C}" destId="{BD7E4BD3-B707-4DAE-862C-B2CCAE37C549}" srcOrd="1" destOrd="0" presId="urn:microsoft.com/office/officeart/2005/8/layout/vList3"/>
    <dgm:cxn modelId="{BE08E03A-03E6-47E1-8B22-ABF3D4E3659B}" type="presParOf" srcId="{D3AE978C-494B-41A3-B686-3D9FDCD47707}" destId="{13DB4B76-A7F4-44CC-980A-61F2EC094096}" srcOrd="3" destOrd="0" presId="urn:microsoft.com/office/officeart/2005/8/layout/vList3"/>
    <dgm:cxn modelId="{E0A9A53B-C8D2-49CE-B555-6AE0EC237605}" type="presParOf" srcId="{D3AE978C-494B-41A3-B686-3D9FDCD47707}" destId="{6A9B6AAF-EB12-48E2-A5F4-9983EEF05B0C}" srcOrd="4" destOrd="0" presId="urn:microsoft.com/office/officeart/2005/8/layout/vList3"/>
    <dgm:cxn modelId="{B1759CBE-A00F-47F2-B189-C83301D8D906}" type="presParOf" srcId="{6A9B6AAF-EB12-48E2-A5F4-9983EEF05B0C}" destId="{F13C8B11-2853-4A6E-A433-AAA58C84128B}" srcOrd="0" destOrd="0" presId="urn:microsoft.com/office/officeart/2005/8/layout/vList3"/>
    <dgm:cxn modelId="{1D169C6C-756F-4745-BC9F-E2D747462D5B}" type="presParOf" srcId="{6A9B6AAF-EB12-48E2-A5F4-9983EEF05B0C}" destId="{CC97B532-372C-4341-9F51-4EDF589A5E16}" srcOrd="1" destOrd="0" presId="urn:microsoft.com/office/officeart/2005/8/layout/vList3"/>
    <dgm:cxn modelId="{62C4A4F0-4352-4B4D-A814-843BBFB18964}" type="presParOf" srcId="{D3AE978C-494B-41A3-B686-3D9FDCD47707}" destId="{3C782933-305D-4A66-86EB-142BD8744A28}" srcOrd="5" destOrd="0" presId="urn:microsoft.com/office/officeart/2005/8/layout/vList3"/>
    <dgm:cxn modelId="{235493BE-BD70-4E81-B51D-9D8DA4C28B69}" type="presParOf" srcId="{D3AE978C-494B-41A3-B686-3D9FDCD47707}" destId="{16C816EF-B28F-4EAF-B312-D0043B8DBD1F}" srcOrd="6" destOrd="0" presId="urn:microsoft.com/office/officeart/2005/8/layout/vList3"/>
    <dgm:cxn modelId="{1F1D122E-AB55-4193-AB78-8CCFD4D262DC}" type="presParOf" srcId="{16C816EF-B28F-4EAF-B312-D0043B8DBD1F}" destId="{1406A248-9C69-41E6-8D85-0ED4F0938136}" srcOrd="0" destOrd="0" presId="urn:microsoft.com/office/officeart/2005/8/layout/vList3"/>
    <dgm:cxn modelId="{AD78009D-835D-42D6-A011-B81823A5CD91}" type="presParOf" srcId="{16C816EF-B28F-4EAF-B312-D0043B8DBD1F}" destId="{94F11791-EE9D-458C-9C0D-8C4DF815BFCA}" srcOrd="1" destOrd="0" presId="urn:microsoft.com/office/officeart/2005/8/layout/vList3"/>
    <dgm:cxn modelId="{EF0B706D-34DD-42A0-AFD5-E0B0C47E5B63}" type="presParOf" srcId="{D3AE978C-494B-41A3-B686-3D9FDCD47707}" destId="{AC48A2A1-744E-4215-9C21-5D84FCA67219}" srcOrd="7" destOrd="0" presId="urn:microsoft.com/office/officeart/2005/8/layout/vList3"/>
    <dgm:cxn modelId="{234F8973-A9A5-4EBD-92CB-4B6E55C80912}" type="presParOf" srcId="{D3AE978C-494B-41A3-B686-3D9FDCD47707}" destId="{C664E10B-C7A1-4921-9D3A-2CABBD9A32A8}" srcOrd="8" destOrd="0" presId="urn:microsoft.com/office/officeart/2005/8/layout/vList3"/>
    <dgm:cxn modelId="{6F48A793-B80F-4B60-897C-FF261FA44A17}" type="presParOf" srcId="{C664E10B-C7A1-4921-9D3A-2CABBD9A32A8}" destId="{46B86910-D26B-4F95-9827-3ADC43AE18EE}" srcOrd="0" destOrd="0" presId="urn:microsoft.com/office/officeart/2005/8/layout/vList3"/>
    <dgm:cxn modelId="{A60108CA-25C8-4B4D-A7E7-346CC5AA654F}" type="presParOf" srcId="{C664E10B-C7A1-4921-9D3A-2CABBD9A32A8}" destId="{D0FD797F-4E73-4FC3-B01F-0D74CF9244CE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F3692B3-BCBF-46B2-BE36-9E9229C2EB6C}" type="doc">
      <dgm:prSet loTypeId="urn:microsoft.com/office/officeart/2005/8/layout/vList3" loCatId="list" qsTypeId="urn:microsoft.com/office/officeart/2005/8/quickstyle/simple1" qsCatId="simple" csTypeId="urn:microsoft.com/office/officeart/2005/8/colors/colorful3" csCatId="colorful" phldr="1"/>
      <dgm:spPr/>
    </dgm:pt>
    <dgm:pt modelId="{8704EEF8-31BC-483A-9DF1-F9DF3352D69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1243,65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EC6E2AF8-9736-4271-B632-D1A777A5B047}" type="parTrans" cxnId="{0D95DE93-D19D-4BE7-B85B-3DE51E6BA96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8FEDB42F-9C58-414E-AA76-060A2FB456FF}" type="sibTrans" cxnId="{0D95DE93-D19D-4BE7-B85B-3DE51E6BA96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B0EEEB7-3418-4075-80F0-08485E22010A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69,54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D6D65466-D3C7-4E8F-B3B9-C503976F9D61}" type="parTrans" cxnId="{5A95059D-51D6-4D3B-9253-BF88A0B0154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B83E4A4-B25B-4FB2-A90C-765A8A377CB6}" type="sibTrans" cxnId="{5A95059D-51D6-4D3B-9253-BF88A0B0154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0575ACA-C387-4BB4-ADFD-1B2BFC94BEE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49,11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2C2A25AA-EA06-4583-B533-98D7CC1C1062}" type="parTrans" cxnId="{753D44EB-733B-4CCB-BF29-25FE421F64C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5BD23F4A-F4D7-4701-8FFD-A4CDDFBC6310}" type="sibTrans" cxnId="{753D44EB-733B-4CCB-BF29-25FE421F64C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A420A148-CD3A-4180-AF7A-590D94CB1CF3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3,5 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79ADEC20-172C-4238-9319-240D26811FB2}" type="parTrans" cxnId="{EAABC2E1-BB71-43A3-94A2-BD87E87CF6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906CAEA3-8DCC-4A4A-9197-A36FBA54A00B}" type="sibTrans" cxnId="{EAABC2E1-BB71-43A3-94A2-BD87E87CF6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B4E9D314-CC87-45D8-AC1A-D37558C878D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243235BE-FDF5-4854-AA1B-A678BDA2D8B2}" type="parTrans" cxnId="{C4E54557-7872-465C-96ED-EB0451E8BD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3D8956F-E5AF-4AFB-88CA-6F876F28F876}" type="sibTrans" cxnId="{C4E54557-7872-465C-96ED-EB0451E8BD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D3AE978C-494B-41A3-B686-3D9FDCD47707}" type="pres">
      <dgm:prSet presAssocID="{3F3692B3-BCBF-46B2-BE36-9E9229C2EB6C}" presName="linearFlow" presStyleCnt="0">
        <dgm:presLayoutVars>
          <dgm:dir/>
          <dgm:resizeHandles val="exact"/>
        </dgm:presLayoutVars>
      </dgm:prSet>
      <dgm:spPr/>
    </dgm:pt>
    <dgm:pt modelId="{B502AAC8-F1B0-49FF-8154-51F1DE6A5FC1}" type="pres">
      <dgm:prSet presAssocID="{8704EEF8-31BC-483A-9DF1-F9DF3352D699}" presName="composite" presStyleCnt="0"/>
      <dgm:spPr/>
    </dgm:pt>
    <dgm:pt modelId="{E17B80E1-7BAB-4E41-A74B-EC1A9DBAD870}" type="pres">
      <dgm:prSet presAssocID="{8704EEF8-31BC-483A-9DF1-F9DF3352D699}" presName="imgShp" presStyleLbl="fgImgPlace1" presStyleIdx="0" presStyleCnt="5" custScaleX="43914" custScaleY="43913"/>
      <dgm:spPr>
        <a:solidFill>
          <a:srgbClr val="C00000"/>
        </a:solidFill>
        <a:ln>
          <a:solidFill>
            <a:srgbClr val="C00000"/>
          </a:solidFill>
        </a:ln>
      </dgm:spPr>
    </dgm:pt>
    <dgm:pt modelId="{CA317B56-0599-4F56-A0B7-415975366334}" type="pres">
      <dgm:prSet presAssocID="{8704EEF8-31BC-483A-9DF1-F9DF3352D699}" presName="txShp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41F1531-1F86-47AC-9682-8A98E07CB27E}" type="pres">
      <dgm:prSet presAssocID="{8FEDB42F-9C58-414E-AA76-060A2FB456FF}" presName="spacing" presStyleCnt="0"/>
      <dgm:spPr/>
    </dgm:pt>
    <dgm:pt modelId="{A5F20255-A99A-4859-9275-EC1E9396587C}" type="pres">
      <dgm:prSet presAssocID="{0B0EEEB7-3418-4075-80F0-08485E22010A}" presName="composite" presStyleCnt="0"/>
      <dgm:spPr/>
    </dgm:pt>
    <dgm:pt modelId="{185E2DE2-1D5B-4B4D-B945-DFDDF2C33608}" type="pres">
      <dgm:prSet presAssocID="{0B0EEEB7-3418-4075-80F0-08485E22010A}" presName="imgShp" presStyleLbl="fgImgPlace1" presStyleIdx="1" presStyleCnt="5" custScaleX="43914" custScaleY="43913"/>
      <dgm:spPr>
        <a:solidFill>
          <a:schemeClr val="tx2"/>
        </a:solidFill>
        <a:ln>
          <a:solidFill>
            <a:schemeClr val="tx2"/>
          </a:solidFill>
        </a:ln>
      </dgm:spPr>
    </dgm:pt>
    <dgm:pt modelId="{BD7E4BD3-B707-4DAE-862C-B2CCAE37C549}" type="pres">
      <dgm:prSet presAssocID="{0B0EEEB7-3418-4075-80F0-08485E22010A}" presName="txShp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3DB4B76-A7F4-44CC-980A-61F2EC094096}" type="pres">
      <dgm:prSet presAssocID="{0B83E4A4-B25B-4FB2-A90C-765A8A377CB6}" presName="spacing" presStyleCnt="0"/>
      <dgm:spPr/>
    </dgm:pt>
    <dgm:pt modelId="{6A9B6AAF-EB12-48E2-A5F4-9983EEF05B0C}" type="pres">
      <dgm:prSet presAssocID="{00575ACA-C387-4BB4-ADFD-1B2BFC94BEE9}" presName="composite" presStyleCnt="0"/>
      <dgm:spPr/>
    </dgm:pt>
    <dgm:pt modelId="{F13C8B11-2853-4A6E-A433-AAA58C84128B}" type="pres">
      <dgm:prSet presAssocID="{00575ACA-C387-4BB4-ADFD-1B2BFC94BEE9}" presName="imgShp" presStyleLbl="fgImgPlace1" presStyleIdx="2" presStyleCnt="5" custScaleX="43914" custScaleY="43913" custLinFactNeighborX="-22248" custLinFactNeighborY="4189"/>
      <dgm:spPr>
        <a:solidFill>
          <a:srgbClr val="92D050"/>
        </a:solidFill>
        <a:ln>
          <a:solidFill>
            <a:srgbClr val="92D050"/>
          </a:solidFill>
        </a:ln>
      </dgm:spPr>
    </dgm:pt>
    <dgm:pt modelId="{CC97B532-372C-4341-9F51-4EDF589A5E16}" type="pres">
      <dgm:prSet presAssocID="{00575ACA-C387-4BB4-ADFD-1B2BFC94BEE9}" presName="txShp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C782933-305D-4A66-86EB-142BD8744A28}" type="pres">
      <dgm:prSet presAssocID="{5BD23F4A-F4D7-4701-8FFD-A4CDDFBC6310}" presName="spacing" presStyleCnt="0"/>
      <dgm:spPr/>
    </dgm:pt>
    <dgm:pt modelId="{16C816EF-B28F-4EAF-B312-D0043B8DBD1F}" type="pres">
      <dgm:prSet presAssocID="{B4E9D314-CC87-45D8-AC1A-D37558C878D9}" presName="composite" presStyleCnt="0"/>
      <dgm:spPr/>
    </dgm:pt>
    <dgm:pt modelId="{1406A248-9C69-41E6-8D85-0ED4F0938136}" type="pres">
      <dgm:prSet presAssocID="{B4E9D314-CC87-45D8-AC1A-D37558C878D9}" presName="imgShp" presStyleLbl="fgImgPlace1" presStyleIdx="3" presStyleCnt="5" custScaleX="43914" custScaleY="43913"/>
      <dgm:spPr>
        <a:solidFill>
          <a:schemeClr val="accent1">
            <a:lumMod val="60000"/>
            <a:lumOff val="40000"/>
          </a:schemeClr>
        </a:solidFill>
        <a:ln>
          <a:solidFill>
            <a:schemeClr val="accent1">
              <a:lumMod val="60000"/>
              <a:lumOff val="40000"/>
            </a:schemeClr>
          </a:solidFill>
        </a:ln>
      </dgm:spPr>
    </dgm:pt>
    <dgm:pt modelId="{94F11791-EE9D-458C-9C0D-8C4DF815BFCA}" type="pres">
      <dgm:prSet presAssocID="{B4E9D314-CC87-45D8-AC1A-D37558C878D9}" presName="txShp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C48A2A1-744E-4215-9C21-5D84FCA67219}" type="pres">
      <dgm:prSet presAssocID="{03D8956F-E5AF-4AFB-88CA-6F876F28F876}" presName="spacing" presStyleCnt="0"/>
      <dgm:spPr/>
    </dgm:pt>
    <dgm:pt modelId="{C664E10B-C7A1-4921-9D3A-2CABBD9A32A8}" type="pres">
      <dgm:prSet presAssocID="{A420A148-CD3A-4180-AF7A-590D94CB1CF3}" presName="composite" presStyleCnt="0"/>
      <dgm:spPr/>
    </dgm:pt>
    <dgm:pt modelId="{46B86910-D26B-4F95-9827-3ADC43AE18EE}" type="pres">
      <dgm:prSet presAssocID="{A420A148-CD3A-4180-AF7A-590D94CB1CF3}" presName="imgShp" presStyleLbl="fgImgPlace1" presStyleIdx="4" presStyleCnt="5" custScaleX="43914" custScaleY="43913"/>
      <dgm:spPr>
        <a:solidFill>
          <a:srgbClr val="7030A0"/>
        </a:solidFill>
        <a:ln>
          <a:solidFill>
            <a:srgbClr val="7030A0"/>
          </a:solidFill>
        </a:ln>
      </dgm:spPr>
    </dgm:pt>
    <dgm:pt modelId="{D0FD797F-4E73-4FC3-B01F-0D74CF9244CE}" type="pres">
      <dgm:prSet presAssocID="{A420A148-CD3A-4180-AF7A-590D94CB1CF3}" presName="txShp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6E5C3F7-AB7F-407E-AF26-7BC7D3956D54}" type="presOf" srcId="{8704EEF8-31BC-483A-9DF1-F9DF3352D699}" destId="{CA317B56-0599-4F56-A0B7-415975366334}" srcOrd="0" destOrd="0" presId="urn:microsoft.com/office/officeart/2005/8/layout/vList3"/>
    <dgm:cxn modelId="{F876C9C9-3F50-441E-A972-A04D638B52F2}" type="presOf" srcId="{3F3692B3-BCBF-46B2-BE36-9E9229C2EB6C}" destId="{D3AE978C-494B-41A3-B686-3D9FDCD47707}" srcOrd="0" destOrd="0" presId="urn:microsoft.com/office/officeart/2005/8/layout/vList3"/>
    <dgm:cxn modelId="{753D44EB-733B-4CCB-BF29-25FE421F64CB}" srcId="{3F3692B3-BCBF-46B2-BE36-9E9229C2EB6C}" destId="{00575ACA-C387-4BB4-ADFD-1B2BFC94BEE9}" srcOrd="2" destOrd="0" parTransId="{2C2A25AA-EA06-4583-B533-98D7CC1C1062}" sibTransId="{5BD23F4A-F4D7-4701-8FFD-A4CDDFBC6310}"/>
    <dgm:cxn modelId="{D05B2A69-D5E6-4D14-9A41-59694DCBA612}" type="presOf" srcId="{0B0EEEB7-3418-4075-80F0-08485E22010A}" destId="{BD7E4BD3-B707-4DAE-862C-B2CCAE37C549}" srcOrd="0" destOrd="0" presId="urn:microsoft.com/office/officeart/2005/8/layout/vList3"/>
    <dgm:cxn modelId="{2FA396FB-468B-443C-84C6-15469F9029AB}" type="presOf" srcId="{00575ACA-C387-4BB4-ADFD-1B2BFC94BEE9}" destId="{CC97B532-372C-4341-9F51-4EDF589A5E16}" srcOrd="0" destOrd="0" presId="urn:microsoft.com/office/officeart/2005/8/layout/vList3"/>
    <dgm:cxn modelId="{C2665800-4DEF-46BD-BED6-5DDD4D7038D6}" type="presOf" srcId="{B4E9D314-CC87-45D8-AC1A-D37558C878D9}" destId="{94F11791-EE9D-458C-9C0D-8C4DF815BFCA}" srcOrd="0" destOrd="0" presId="urn:microsoft.com/office/officeart/2005/8/layout/vList3"/>
    <dgm:cxn modelId="{5A95059D-51D6-4D3B-9253-BF88A0B01545}" srcId="{3F3692B3-BCBF-46B2-BE36-9E9229C2EB6C}" destId="{0B0EEEB7-3418-4075-80F0-08485E22010A}" srcOrd="1" destOrd="0" parTransId="{D6D65466-D3C7-4E8F-B3B9-C503976F9D61}" sibTransId="{0B83E4A4-B25B-4FB2-A90C-765A8A377CB6}"/>
    <dgm:cxn modelId="{0D95DE93-D19D-4BE7-B85B-3DE51E6BA96B}" srcId="{3F3692B3-BCBF-46B2-BE36-9E9229C2EB6C}" destId="{8704EEF8-31BC-483A-9DF1-F9DF3352D699}" srcOrd="0" destOrd="0" parTransId="{EC6E2AF8-9736-4271-B632-D1A777A5B047}" sibTransId="{8FEDB42F-9C58-414E-AA76-060A2FB456FF}"/>
    <dgm:cxn modelId="{EAABC2E1-BB71-43A3-94A2-BD87E87CF6D5}" srcId="{3F3692B3-BCBF-46B2-BE36-9E9229C2EB6C}" destId="{A420A148-CD3A-4180-AF7A-590D94CB1CF3}" srcOrd="4" destOrd="0" parTransId="{79ADEC20-172C-4238-9319-240D26811FB2}" sibTransId="{906CAEA3-8DCC-4A4A-9197-A36FBA54A00B}"/>
    <dgm:cxn modelId="{C4E54557-7872-465C-96ED-EB0451E8BDD5}" srcId="{3F3692B3-BCBF-46B2-BE36-9E9229C2EB6C}" destId="{B4E9D314-CC87-45D8-AC1A-D37558C878D9}" srcOrd="3" destOrd="0" parTransId="{243235BE-FDF5-4854-AA1B-A678BDA2D8B2}" sibTransId="{03D8956F-E5AF-4AFB-88CA-6F876F28F876}"/>
    <dgm:cxn modelId="{8B541859-AFE9-464F-8451-FFD8222F3ACB}" type="presOf" srcId="{A420A148-CD3A-4180-AF7A-590D94CB1CF3}" destId="{D0FD797F-4E73-4FC3-B01F-0D74CF9244CE}" srcOrd="0" destOrd="0" presId="urn:microsoft.com/office/officeart/2005/8/layout/vList3"/>
    <dgm:cxn modelId="{122C3EEE-396C-41C8-83C0-3F82DDDF6355}" type="presParOf" srcId="{D3AE978C-494B-41A3-B686-3D9FDCD47707}" destId="{B502AAC8-F1B0-49FF-8154-51F1DE6A5FC1}" srcOrd="0" destOrd="0" presId="urn:microsoft.com/office/officeart/2005/8/layout/vList3"/>
    <dgm:cxn modelId="{EBE5B0D7-7FBC-4971-BF77-22F28EA268D1}" type="presParOf" srcId="{B502AAC8-F1B0-49FF-8154-51F1DE6A5FC1}" destId="{E17B80E1-7BAB-4E41-A74B-EC1A9DBAD870}" srcOrd="0" destOrd="0" presId="urn:microsoft.com/office/officeart/2005/8/layout/vList3"/>
    <dgm:cxn modelId="{BAB19AD5-FD01-4A26-A2F3-D77DBB405437}" type="presParOf" srcId="{B502AAC8-F1B0-49FF-8154-51F1DE6A5FC1}" destId="{CA317B56-0599-4F56-A0B7-415975366334}" srcOrd="1" destOrd="0" presId="urn:microsoft.com/office/officeart/2005/8/layout/vList3"/>
    <dgm:cxn modelId="{8E525CB3-88C1-4F49-942E-4FE871A8004F}" type="presParOf" srcId="{D3AE978C-494B-41A3-B686-3D9FDCD47707}" destId="{D41F1531-1F86-47AC-9682-8A98E07CB27E}" srcOrd="1" destOrd="0" presId="urn:microsoft.com/office/officeart/2005/8/layout/vList3"/>
    <dgm:cxn modelId="{6F6803AF-FC79-4501-B258-2B146CC45926}" type="presParOf" srcId="{D3AE978C-494B-41A3-B686-3D9FDCD47707}" destId="{A5F20255-A99A-4859-9275-EC1E9396587C}" srcOrd="2" destOrd="0" presId="urn:microsoft.com/office/officeart/2005/8/layout/vList3"/>
    <dgm:cxn modelId="{3865237A-A4AF-46B6-8F70-E4B95C25925B}" type="presParOf" srcId="{A5F20255-A99A-4859-9275-EC1E9396587C}" destId="{185E2DE2-1D5B-4B4D-B945-DFDDF2C33608}" srcOrd="0" destOrd="0" presId="urn:microsoft.com/office/officeart/2005/8/layout/vList3"/>
    <dgm:cxn modelId="{5758D438-4CB5-4372-A58D-D73276012F5A}" type="presParOf" srcId="{A5F20255-A99A-4859-9275-EC1E9396587C}" destId="{BD7E4BD3-B707-4DAE-862C-B2CCAE37C549}" srcOrd="1" destOrd="0" presId="urn:microsoft.com/office/officeart/2005/8/layout/vList3"/>
    <dgm:cxn modelId="{10944D72-6AA7-4FF6-89C1-F042027D0E87}" type="presParOf" srcId="{D3AE978C-494B-41A3-B686-3D9FDCD47707}" destId="{13DB4B76-A7F4-44CC-980A-61F2EC094096}" srcOrd="3" destOrd="0" presId="urn:microsoft.com/office/officeart/2005/8/layout/vList3"/>
    <dgm:cxn modelId="{9E0CA9B3-EC01-44D0-AFD3-2D2AC24441B9}" type="presParOf" srcId="{D3AE978C-494B-41A3-B686-3D9FDCD47707}" destId="{6A9B6AAF-EB12-48E2-A5F4-9983EEF05B0C}" srcOrd="4" destOrd="0" presId="urn:microsoft.com/office/officeart/2005/8/layout/vList3"/>
    <dgm:cxn modelId="{FECD8489-9DC9-4BC7-B69D-97F1828BBD26}" type="presParOf" srcId="{6A9B6AAF-EB12-48E2-A5F4-9983EEF05B0C}" destId="{F13C8B11-2853-4A6E-A433-AAA58C84128B}" srcOrd="0" destOrd="0" presId="urn:microsoft.com/office/officeart/2005/8/layout/vList3"/>
    <dgm:cxn modelId="{F3C8AFBC-D910-4224-8DF6-5B6F850755AE}" type="presParOf" srcId="{6A9B6AAF-EB12-48E2-A5F4-9983EEF05B0C}" destId="{CC97B532-372C-4341-9F51-4EDF589A5E16}" srcOrd="1" destOrd="0" presId="urn:microsoft.com/office/officeart/2005/8/layout/vList3"/>
    <dgm:cxn modelId="{598FD212-E7F1-4D02-B3F7-C2C86778A75B}" type="presParOf" srcId="{D3AE978C-494B-41A3-B686-3D9FDCD47707}" destId="{3C782933-305D-4A66-86EB-142BD8744A28}" srcOrd="5" destOrd="0" presId="urn:microsoft.com/office/officeart/2005/8/layout/vList3"/>
    <dgm:cxn modelId="{8CC3C7FD-255C-4962-80B2-D6EF12340F06}" type="presParOf" srcId="{D3AE978C-494B-41A3-B686-3D9FDCD47707}" destId="{16C816EF-B28F-4EAF-B312-D0043B8DBD1F}" srcOrd="6" destOrd="0" presId="urn:microsoft.com/office/officeart/2005/8/layout/vList3"/>
    <dgm:cxn modelId="{375AB846-98A1-46FE-B13A-7CEC32495F60}" type="presParOf" srcId="{16C816EF-B28F-4EAF-B312-D0043B8DBD1F}" destId="{1406A248-9C69-41E6-8D85-0ED4F0938136}" srcOrd="0" destOrd="0" presId="urn:microsoft.com/office/officeart/2005/8/layout/vList3"/>
    <dgm:cxn modelId="{703FD093-AF92-4B74-86E1-A2D108F4B799}" type="presParOf" srcId="{16C816EF-B28F-4EAF-B312-D0043B8DBD1F}" destId="{94F11791-EE9D-458C-9C0D-8C4DF815BFCA}" srcOrd="1" destOrd="0" presId="urn:microsoft.com/office/officeart/2005/8/layout/vList3"/>
    <dgm:cxn modelId="{DBA7A5A6-A4C8-4B99-BE39-3B9010FD4C43}" type="presParOf" srcId="{D3AE978C-494B-41A3-B686-3D9FDCD47707}" destId="{AC48A2A1-744E-4215-9C21-5D84FCA67219}" srcOrd="7" destOrd="0" presId="urn:microsoft.com/office/officeart/2005/8/layout/vList3"/>
    <dgm:cxn modelId="{A11A9C7C-BD83-42D2-9AB5-8110101515C4}" type="presParOf" srcId="{D3AE978C-494B-41A3-B686-3D9FDCD47707}" destId="{C664E10B-C7A1-4921-9D3A-2CABBD9A32A8}" srcOrd="8" destOrd="0" presId="urn:microsoft.com/office/officeart/2005/8/layout/vList3"/>
    <dgm:cxn modelId="{63ABA686-6D95-4A14-B79E-2CC80B9BA9AB}" type="presParOf" srcId="{C664E10B-C7A1-4921-9D3A-2CABBD9A32A8}" destId="{46B86910-D26B-4F95-9827-3ADC43AE18EE}" srcOrd="0" destOrd="0" presId="urn:microsoft.com/office/officeart/2005/8/layout/vList3"/>
    <dgm:cxn modelId="{E407C32B-3B16-4B96-8F94-18A330836229}" type="presParOf" srcId="{C664E10B-C7A1-4921-9D3A-2CABBD9A32A8}" destId="{D0FD797F-4E73-4FC3-B01F-0D74CF9244CE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F3692B3-BCBF-46B2-BE36-9E9229C2EB6C}" type="doc">
      <dgm:prSet loTypeId="urn:microsoft.com/office/officeart/2005/8/layout/vList3" loCatId="list" qsTypeId="urn:microsoft.com/office/officeart/2005/8/quickstyle/simple1" qsCatId="simple" csTypeId="urn:microsoft.com/office/officeart/2005/8/colors/colorful3" csCatId="colorful" phldr="1"/>
      <dgm:spPr/>
    </dgm:pt>
    <dgm:pt modelId="{8704EEF8-31BC-483A-9DF1-F9DF3352D69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654,0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EC6E2AF8-9736-4271-B632-D1A777A5B047}" type="parTrans" cxnId="{0D95DE93-D19D-4BE7-B85B-3DE51E6BA96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8FEDB42F-9C58-414E-AA76-060A2FB456FF}" type="sibTrans" cxnId="{0D95DE93-D19D-4BE7-B85B-3DE51E6BA96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B0EEEB7-3418-4075-80F0-08485E22010A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33,12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D6D65466-D3C7-4E8F-B3B9-C503976F9D61}" type="parTrans" cxnId="{5A95059D-51D6-4D3B-9253-BF88A0B0154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B83E4A4-B25B-4FB2-A90C-765A8A377CB6}" type="sibTrans" cxnId="{5A95059D-51D6-4D3B-9253-BF88A0B0154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0575ACA-C387-4BB4-ADFD-1B2BFC94BEE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37,38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2C2A25AA-EA06-4583-B533-98D7CC1C1062}" type="parTrans" cxnId="{753D44EB-733B-4CCB-BF29-25FE421F64C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5BD23F4A-F4D7-4701-8FFD-A4CDDFBC6310}" type="sibTrans" cxnId="{753D44EB-733B-4CCB-BF29-25FE421F64C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A420A148-CD3A-4180-AF7A-590D94CB1CF3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2,67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79ADEC20-172C-4238-9319-240D26811FB2}" type="parTrans" cxnId="{EAABC2E1-BB71-43A3-94A2-BD87E87CF6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906CAEA3-8DCC-4A4A-9197-A36FBA54A00B}" type="sibTrans" cxnId="{EAABC2E1-BB71-43A3-94A2-BD87E87CF6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B4E9D314-CC87-45D8-AC1A-D37558C878D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- 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243235BE-FDF5-4854-AA1B-A678BDA2D8B2}" type="parTrans" cxnId="{C4E54557-7872-465C-96ED-EB0451E8BD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3D8956F-E5AF-4AFB-88CA-6F876F28F876}" type="sibTrans" cxnId="{C4E54557-7872-465C-96ED-EB0451E8BD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D3AE978C-494B-41A3-B686-3D9FDCD47707}" type="pres">
      <dgm:prSet presAssocID="{3F3692B3-BCBF-46B2-BE36-9E9229C2EB6C}" presName="linearFlow" presStyleCnt="0">
        <dgm:presLayoutVars>
          <dgm:dir/>
          <dgm:resizeHandles val="exact"/>
        </dgm:presLayoutVars>
      </dgm:prSet>
      <dgm:spPr/>
    </dgm:pt>
    <dgm:pt modelId="{B502AAC8-F1B0-49FF-8154-51F1DE6A5FC1}" type="pres">
      <dgm:prSet presAssocID="{8704EEF8-31BC-483A-9DF1-F9DF3352D699}" presName="composite" presStyleCnt="0"/>
      <dgm:spPr/>
    </dgm:pt>
    <dgm:pt modelId="{E17B80E1-7BAB-4E41-A74B-EC1A9DBAD870}" type="pres">
      <dgm:prSet presAssocID="{8704EEF8-31BC-483A-9DF1-F9DF3352D699}" presName="imgShp" presStyleLbl="fgImgPlace1" presStyleIdx="0" presStyleCnt="5" custScaleX="43914" custScaleY="43913"/>
      <dgm:spPr>
        <a:solidFill>
          <a:srgbClr val="C00000"/>
        </a:solidFill>
        <a:ln>
          <a:solidFill>
            <a:srgbClr val="C00000"/>
          </a:solidFill>
        </a:ln>
      </dgm:spPr>
    </dgm:pt>
    <dgm:pt modelId="{CA317B56-0599-4F56-A0B7-415975366334}" type="pres">
      <dgm:prSet presAssocID="{8704EEF8-31BC-483A-9DF1-F9DF3352D699}" presName="txShp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41F1531-1F86-47AC-9682-8A98E07CB27E}" type="pres">
      <dgm:prSet presAssocID="{8FEDB42F-9C58-414E-AA76-060A2FB456FF}" presName="spacing" presStyleCnt="0"/>
      <dgm:spPr/>
    </dgm:pt>
    <dgm:pt modelId="{A5F20255-A99A-4859-9275-EC1E9396587C}" type="pres">
      <dgm:prSet presAssocID="{0B0EEEB7-3418-4075-80F0-08485E22010A}" presName="composite" presStyleCnt="0"/>
      <dgm:spPr/>
    </dgm:pt>
    <dgm:pt modelId="{185E2DE2-1D5B-4B4D-B945-DFDDF2C33608}" type="pres">
      <dgm:prSet presAssocID="{0B0EEEB7-3418-4075-80F0-08485E22010A}" presName="imgShp" presStyleLbl="fgImgPlace1" presStyleIdx="1" presStyleCnt="5" custScaleX="43914" custScaleY="43913"/>
      <dgm:spPr>
        <a:solidFill>
          <a:schemeClr val="tx2"/>
        </a:solidFill>
        <a:ln>
          <a:solidFill>
            <a:schemeClr val="tx2"/>
          </a:solidFill>
        </a:ln>
      </dgm:spPr>
    </dgm:pt>
    <dgm:pt modelId="{BD7E4BD3-B707-4DAE-862C-B2CCAE37C549}" type="pres">
      <dgm:prSet presAssocID="{0B0EEEB7-3418-4075-80F0-08485E22010A}" presName="txShp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3DB4B76-A7F4-44CC-980A-61F2EC094096}" type="pres">
      <dgm:prSet presAssocID="{0B83E4A4-B25B-4FB2-A90C-765A8A377CB6}" presName="spacing" presStyleCnt="0"/>
      <dgm:spPr/>
    </dgm:pt>
    <dgm:pt modelId="{6A9B6AAF-EB12-48E2-A5F4-9983EEF05B0C}" type="pres">
      <dgm:prSet presAssocID="{00575ACA-C387-4BB4-ADFD-1B2BFC94BEE9}" presName="composite" presStyleCnt="0"/>
      <dgm:spPr/>
    </dgm:pt>
    <dgm:pt modelId="{F13C8B11-2853-4A6E-A433-AAA58C84128B}" type="pres">
      <dgm:prSet presAssocID="{00575ACA-C387-4BB4-ADFD-1B2BFC94BEE9}" presName="imgShp" presStyleLbl="fgImgPlace1" presStyleIdx="2" presStyleCnt="5" custScaleX="43914" custScaleY="43913"/>
      <dgm:spPr>
        <a:solidFill>
          <a:srgbClr val="92D050"/>
        </a:solidFill>
        <a:ln>
          <a:solidFill>
            <a:srgbClr val="92D050"/>
          </a:solidFill>
        </a:ln>
      </dgm:spPr>
    </dgm:pt>
    <dgm:pt modelId="{CC97B532-372C-4341-9F51-4EDF589A5E16}" type="pres">
      <dgm:prSet presAssocID="{00575ACA-C387-4BB4-ADFD-1B2BFC94BEE9}" presName="txShp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C782933-305D-4A66-86EB-142BD8744A28}" type="pres">
      <dgm:prSet presAssocID="{5BD23F4A-F4D7-4701-8FFD-A4CDDFBC6310}" presName="spacing" presStyleCnt="0"/>
      <dgm:spPr/>
    </dgm:pt>
    <dgm:pt modelId="{16C816EF-B28F-4EAF-B312-D0043B8DBD1F}" type="pres">
      <dgm:prSet presAssocID="{B4E9D314-CC87-45D8-AC1A-D37558C878D9}" presName="composite" presStyleCnt="0"/>
      <dgm:spPr/>
    </dgm:pt>
    <dgm:pt modelId="{1406A248-9C69-41E6-8D85-0ED4F0938136}" type="pres">
      <dgm:prSet presAssocID="{B4E9D314-CC87-45D8-AC1A-D37558C878D9}" presName="imgShp" presStyleLbl="fgImgPlace1" presStyleIdx="3" presStyleCnt="5" custScaleX="43914" custScaleY="43913"/>
      <dgm:spPr>
        <a:solidFill>
          <a:schemeClr val="accent1">
            <a:lumMod val="60000"/>
            <a:lumOff val="40000"/>
          </a:schemeClr>
        </a:solidFill>
        <a:ln>
          <a:solidFill>
            <a:schemeClr val="accent1">
              <a:lumMod val="60000"/>
              <a:lumOff val="40000"/>
            </a:schemeClr>
          </a:solidFill>
        </a:ln>
      </dgm:spPr>
    </dgm:pt>
    <dgm:pt modelId="{94F11791-EE9D-458C-9C0D-8C4DF815BFCA}" type="pres">
      <dgm:prSet presAssocID="{B4E9D314-CC87-45D8-AC1A-D37558C878D9}" presName="txShp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C48A2A1-744E-4215-9C21-5D84FCA67219}" type="pres">
      <dgm:prSet presAssocID="{03D8956F-E5AF-4AFB-88CA-6F876F28F876}" presName="spacing" presStyleCnt="0"/>
      <dgm:spPr/>
    </dgm:pt>
    <dgm:pt modelId="{C664E10B-C7A1-4921-9D3A-2CABBD9A32A8}" type="pres">
      <dgm:prSet presAssocID="{A420A148-CD3A-4180-AF7A-590D94CB1CF3}" presName="composite" presStyleCnt="0"/>
      <dgm:spPr/>
    </dgm:pt>
    <dgm:pt modelId="{46B86910-D26B-4F95-9827-3ADC43AE18EE}" type="pres">
      <dgm:prSet presAssocID="{A420A148-CD3A-4180-AF7A-590D94CB1CF3}" presName="imgShp" presStyleLbl="fgImgPlace1" presStyleIdx="4" presStyleCnt="5" custScaleX="43914" custScaleY="43913"/>
      <dgm:spPr>
        <a:solidFill>
          <a:srgbClr val="7030A0"/>
        </a:solidFill>
        <a:ln>
          <a:solidFill>
            <a:srgbClr val="7030A0"/>
          </a:solidFill>
        </a:ln>
      </dgm:spPr>
    </dgm:pt>
    <dgm:pt modelId="{D0FD797F-4E73-4FC3-B01F-0D74CF9244CE}" type="pres">
      <dgm:prSet presAssocID="{A420A148-CD3A-4180-AF7A-590D94CB1CF3}" presName="txShp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53D44EB-733B-4CCB-BF29-25FE421F64CB}" srcId="{3F3692B3-BCBF-46B2-BE36-9E9229C2EB6C}" destId="{00575ACA-C387-4BB4-ADFD-1B2BFC94BEE9}" srcOrd="2" destOrd="0" parTransId="{2C2A25AA-EA06-4583-B533-98D7CC1C1062}" sibTransId="{5BD23F4A-F4D7-4701-8FFD-A4CDDFBC6310}"/>
    <dgm:cxn modelId="{79B007CD-3661-4EC9-8C20-AB085CF7EC3E}" type="presOf" srcId="{3F3692B3-BCBF-46B2-BE36-9E9229C2EB6C}" destId="{D3AE978C-494B-41A3-B686-3D9FDCD47707}" srcOrd="0" destOrd="0" presId="urn:microsoft.com/office/officeart/2005/8/layout/vList3"/>
    <dgm:cxn modelId="{5A95059D-51D6-4D3B-9253-BF88A0B01545}" srcId="{3F3692B3-BCBF-46B2-BE36-9E9229C2EB6C}" destId="{0B0EEEB7-3418-4075-80F0-08485E22010A}" srcOrd="1" destOrd="0" parTransId="{D6D65466-D3C7-4E8F-B3B9-C503976F9D61}" sibTransId="{0B83E4A4-B25B-4FB2-A90C-765A8A377CB6}"/>
    <dgm:cxn modelId="{0D95DE93-D19D-4BE7-B85B-3DE51E6BA96B}" srcId="{3F3692B3-BCBF-46B2-BE36-9E9229C2EB6C}" destId="{8704EEF8-31BC-483A-9DF1-F9DF3352D699}" srcOrd="0" destOrd="0" parTransId="{EC6E2AF8-9736-4271-B632-D1A777A5B047}" sibTransId="{8FEDB42F-9C58-414E-AA76-060A2FB456FF}"/>
    <dgm:cxn modelId="{EAABC2E1-BB71-43A3-94A2-BD87E87CF6D5}" srcId="{3F3692B3-BCBF-46B2-BE36-9E9229C2EB6C}" destId="{A420A148-CD3A-4180-AF7A-590D94CB1CF3}" srcOrd="4" destOrd="0" parTransId="{79ADEC20-172C-4238-9319-240D26811FB2}" sibTransId="{906CAEA3-8DCC-4A4A-9197-A36FBA54A00B}"/>
    <dgm:cxn modelId="{C4E54557-7872-465C-96ED-EB0451E8BDD5}" srcId="{3F3692B3-BCBF-46B2-BE36-9E9229C2EB6C}" destId="{B4E9D314-CC87-45D8-AC1A-D37558C878D9}" srcOrd="3" destOrd="0" parTransId="{243235BE-FDF5-4854-AA1B-A678BDA2D8B2}" sibTransId="{03D8956F-E5AF-4AFB-88CA-6F876F28F876}"/>
    <dgm:cxn modelId="{F3D5779B-D36E-452B-8463-93D968B98F14}" type="presOf" srcId="{00575ACA-C387-4BB4-ADFD-1B2BFC94BEE9}" destId="{CC97B532-372C-4341-9F51-4EDF589A5E16}" srcOrd="0" destOrd="0" presId="urn:microsoft.com/office/officeart/2005/8/layout/vList3"/>
    <dgm:cxn modelId="{CAE028BC-73C4-43F2-B56B-5BB928EEE2D8}" type="presOf" srcId="{8704EEF8-31BC-483A-9DF1-F9DF3352D699}" destId="{CA317B56-0599-4F56-A0B7-415975366334}" srcOrd="0" destOrd="0" presId="urn:microsoft.com/office/officeart/2005/8/layout/vList3"/>
    <dgm:cxn modelId="{5A6FA62B-F7B6-46CE-BFB0-987396AE7A9C}" type="presOf" srcId="{A420A148-CD3A-4180-AF7A-590D94CB1CF3}" destId="{D0FD797F-4E73-4FC3-B01F-0D74CF9244CE}" srcOrd="0" destOrd="0" presId="urn:microsoft.com/office/officeart/2005/8/layout/vList3"/>
    <dgm:cxn modelId="{BB5C2AB2-D27E-4771-9C7C-9028B56A72BD}" type="presOf" srcId="{0B0EEEB7-3418-4075-80F0-08485E22010A}" destId="{BD7E4BD3-B707-4DAE-862C-B2CCAE37C549}" srcOrd="0" destOrd="0" presId="urn:microsoft.com/office/officeart/2005/8/layout/vList3"/>
    <dgm:cxn modelId="{05799F2C-6613-41D8-B1BD-B230AF64DA58}" type="presOf" srcId="{B4E9D314-CC87-45D8-AC1A-D37558C878D9}" destId="{94F11791-EE9D-458C-9C0D-8C4DF815BFCA}" srcOrd="0" destOrd="0" presId="urn:microsoft.com/office/officeart/2005/8/layout/vList3"/>
    <dgm:cxn modelId="{A0C4F5A6-81D1-49EE-B09C-067691265A1D}" type="presParOf" srcId="{D3AE978C-494B-41A3-B686-3D9FDCD47707}" destId="{B502AAC8-F1B0-49FF-8154-51F1DE6A5FC1}" srcOrd="0" destOrd="0" presId="urn:microsoft.com/office/officeart/2005/8/layout/vList3"/>
    <dgm:cxn modelId="{9363606C-3D50-41A7-8B37-B11F427D9CFD}" type="presParOf" srcId="{B502AAC8-F1B0-49FF-8154-51F1DE6A5FC1}" destId="{E17B80E1-7BAB-4E41-A74B-EC1A9DBAD870}" srcOrd="0" destOrd="0" presId="urn:microsoft.com/office/officeart/2005/8/layout/vList3"/>
    <dgm:cxn modelId="{7F20B406-4B1F-443B-8830-B67ACAD7C3F7}" type="presParOf" srcId="{B502AAC8-F1B0-49FF-8154-51F1DE6A5FC1}" destId="{CA317B56-0599-4F56-A0B7-415975366334}" srcOrd="1" destOrd="0" presId="urn:microsoft.com/office/officeart/2005/8/layout/vList3"/>
    <dgm:cxn modelId="{280AEFF1-A427-4A88-BAF2-CAFB10DB0B00}" type="presParOf" srcId="{D3AE978C-494B-41A3-B686-3D9FDCD47707}" destId="{D41F1531-1F86-47AC-9682-8A98E07CB27E}" srcOrd="1" destOrd="0" presId="urn:microsoft.com/office/officeart/2005/8/layout/vList3"/>
    <dgm:cxn modelId="{21CC2014-5D91-4BB4-8422-B72EF41C5F28}" type="presParOf" srcId="{D3AE978C-494B-41A3-B686-3D9FDCD47707}" destId="{A5F20255-A99A-4859-9275-EC1E9396587C}" srcOrd="2" destOrd="0" presId="urn:microsoft.com/office/officeart/2005/8/layout/vList3"/>
    <dgm:cxn modelId="{19165BA6-10E3-4C34-9591-BD4196ECA7D5}" type="presParOf" srcId="{A5F20255-A99A-4859-9275-EC1E9396587C}" destId="{185E2DE2-1D5B-4B4D-B945-DFDDF2C33608}" srcOrd="0" destOrd="0" presId="urn:microsoft.com/office/officeart/2005/8/layout/vList3"/>
    <dgm:cxn modelId="{763FCB2A-050E-4ED1-BF4D-7087CE3B4A72}" type="presParOf" srcId="{A5F20255-A99A-4859-9275-EC1E9396587C}" destId="{BD7E4BD3-B707-4DAE-862C-B2CCAE37C549}" srcOrd="1" destOrd="0" presId="urn:microsoft.com/office/officeart/2005/8/layout/vList3"/>
    <dgm:cxn modelId="{7CFFB51B-9C66-467B-B7C9-FF286C1F7A63}" type="presParOf" srcId="{D3AE978C-494B-41A3-B686-3D9FDCD47707}" destId="{13DB4B76-A7F4-44CC-980A-61F2EC094096}" srcOrd="3" destOrd="0" presId="urn:microsoft.com/office/officeart/2005/8/layout/vList3"/>
    <dgm:cxn modelId="{4F4D0386-38A3-4541-A964-C3166605BC2B}" type="presParOf" srcId="{D3AE978C-494B-41A3-B686-3D9FDCD47707}" destId="{6A9B6AAF-EB12-48E2-A5F4-9983EEF05B0C}" srcOrd="4" destOrd="0" presId="urn:microsoft.com/office/officeart/2005/8/layout/vList3"/>
    <dgm:cxn modelId="{1E75408A-2359-4D4F-90F4-755CA3216375}" type="presParOf" srcId="{6A9B6AAF-EB12-48E2-A5F4-9983EEF05B0C}" destId="{F13C8B11-2853-4A6E-A433-AAA58C84128B}" srcOrd="0" destOrd="0" presId="urn:microsoft.com/office/officeart/2005/8/layout/vList3"/>
    <dgm:cxn modelId="{317DDEC6-28AD-47B8-9407-928C821BDBF9}" type="presParOf" srcId="{6A9B6AAF-EB12-48E2-A5F4-9983EEF05B0C}" destId="{CC97B532-372C-4341-9F51-4EDF589A5E16}" srcOrd="1" destOrd="0" presId="urn:microsoft.com/office/officeart/2005/8/layout/vList3"/>
    <dgm:cxn modelId="{793D01DF-22D3-480E-BF4E-CF8D1AC8670C}" type="presParOf" srcId="{D3AE978C-494B-41A3-B686-3D9FDCD47707}" destId="{3C782933-305D-4A66-86EB-142BD8744A28}" srcOrd="5" destOrd="0" presId="urn:microsoft.com/office/officeart/2005/8/layout/vList3"/>
    <dgm:cxn modelId="{00F6E28C-6293-4C3E-AF93-D48955FA8AC3}" type="presParOf" srcId="{D3AE978C-494B-41A3-B686-3D9FDCD47707}" destId="{16C816EF-B28F-4EAF-B312-D0043B8DBD1F}" srcOrd="6" destOrd="0" presId="urn:microsoft.com/office/officeart/2005/8/layout/vList3"/>
    <dgm:cxn modelId="{D60B7C46-1BA8-4C7B-BF3E-1210E2811F05}" type="presParOf" srcId="{16C816EF-B28F-4EAF-B312-D0043B8DBD1F}" destId="{1406A248-9C69-41E6-8D85-0ED4F0938136}" srcOrd="0" destOrd="0" presId="urn:microsoft.com/office/officeart/2005/8/layout/vList3"/>
    <dgm:cxn modelId="{6A0938AB-D673-45CB-AB65-6FDC92A134BE}" type="presParOf" srcId="{16C816EF-B28F-4EAF-B312-D0043B8DBD1F}" destId="{94F11791-EE9D-458C-9C0D-8C4DF815BFCA}" srcOrd="1" destOrd="0" presId="urn:microsoft.com/office/officeart/2005/8/layout/vList3"/>
    <dgm:cxn modelId="{FFA7D081-F865-4CA9-8341-3BC8FDD86781}" type="presParOf" srcId="{D3AE978C-494B-41A3-B686-3D9FDCD47707}" destId="{AC48A2A1-744E-4215-9C21-5D84FCA67219}" srcOrd="7" destOrd="0" presId="urn:microsoft.com/office/officeart/2005/8/layout/vList3"/>
    <dgm:cxn modelId="{36778A01-9AD8-4D11-8BF5-083BFD84475D}" type="presParOf" srcId="{D3AE978C-494B-41A3-B686-3D9FDCD47707}" destId="{C664E10B-C7A1-4921-9D3A-2CABBD9A32A8}" srcOrd="8" destOrd="0" presId="urn:microsoft.com/office/officeart/2005/8/layout/vList3"/>
    <dgm:cxn modelId="{EB59BCE4-5DA4-43A9-90FF-9BFC1E13910C}" type="presParOf" srcId="{C664E10B-C7A1-4921-9D3A-2CABBD9A32A8}" destId="{46B86910-D26B-4F95-9827-3ADC43AE18EE}" srcOrd="0" destOrd="0" presId="urn:microsoft.com/office/officeart/2005/8/layout/vList3"/>
    <dgm:cxn modelId="{3D005412-AF91-4B74-BC72-4C268634B1D9}" type="presParOf" srcId="{C664E10B-C7A1-4921-9D3A-2CABBD9A32A8}" destId="{D0FD797F-4E73-4FC3-B01F-0D74CF9244CE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F3692B3-BCBF-46B2-BE36-9E9229C2EB6C}" type="doc">
      <dgm:prSet loTypeId="urn:microsoft.com/office/officeart/2005/8/layout/vList3" loCatId="list" qsTypeId="urn:microsoft.com/office/officeart/2005/8/quickstyle/simple1" qsCatId="simple" csTypeId="urn:microsoft.com/office/officeart/2005/8/colors/colorful3" csCatId="colorful" phldr="1"/>
      <dgm:spPr/>
    </dgm:pt>
    <dgm:pt modelId="{8704EEF8-31BC-483A-9DF1-F9DF3352D69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1045,71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EC6E2AF8-9736-4271-B632-D1A777A5B047}" type="parTrans" cxnId="{0D95DE93-D19D-4BE7-B85B-3DE51E6BA96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8FEDB42F-9C58-414E-AA76-060A2FB456FF}" type="sibTrans" cxnId="{0D95DE93-D19D-4BE7-B85B-3DE51E6BA96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B0EEEB7-3418-4075-80F0-08485E22010A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22,54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D6D65466-D3C7-4E8F-B3B9-C503976F9D61}" type="parTrans" cxnId="{5A95059D-51D6-4D3B-9253-BF88A0B0154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B83E4A4-B25B-4FB2-A90C-765A8A377CB6}" type="sibTrans" cxnId="{5A95059D-51D6-4D3B-9253-BF88A0B0154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0575ACA-C387-4BB4-ADFD-1B2BFC94BEE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26,83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2C2A25AA-EA06-4583-B533-98D7CC1C1062}" type="parTrans" cxnId="{753D44EB-733B-4CCB-BF29-25FE421F64C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5BD23F4A-F4D7-4701-8FFD-A4CDDFBC6310}" type="sibTrans" cxnId="{753D44EB-733B-4CCB-BF29-25FE421F64C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A420A148-CD3A-4180-AF7A-590D94CB1CF3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kk-KZ" sz="800" b="1" dirty="0" smtClean="0">
              <a:ln>
                <a:noFill/>
              </a:ln>
              <a:solidFill>
                <a:schemeClr val="tx1"/>
              </a:solidFill>
            </a:rPr>
            <a:t>2,78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79ADEC20-172C-4238-9319-240D26811FB2}" type="parTrans" cxnId="{EAABC2E1-BB71-43A3-94A2-BD87E87CF6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906CAEA3-8DCC-4A4A-9197-A36FBA54A00B}" type="sibTrans" cxnId="{EAABC2E1-BB71-43A3-94A2-BD87E87CF6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B4E9D314-CC87-45D8-AC1A-D37558C878D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kk-KZ" sz="800" b="1" dirty="0" smtClean="0">
              <a:ln>
                <a:noFill/>
              </a:ln>
              <a:solidFill>
                <a:schemeClr val="tx1"/>
              </a:solidFill>
            </a:rPr>
            <a:t>7,11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243235BE-FDF5-4854-AA1B-A678BDA2D8B2}" type="parTrans" cxnId="{C4E54557-7872-465C-96ED-EB0451E8BD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3D8956F-E5AF-4AFB-88CA-6F876F28F876}" type="sibTrans" cxnId="{C4E54557-7872-465C-96ED-EB0451E8BD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D3AE978C-494B-41A3-B686-3D9FDCD47707}" type="pres">
      <dgm:prSet presAssocID="{3F3692B3-BCBF-46B2-BE36-9E9229C2EB6C}" presName="linearFlow" presStyleCnt="0">
        <dgm:presLayoutVars>
          <dgm:dir/>
          <dgm:resizeHandles val="exact"/>
        </dgm:presLayoutVars>
      </dgm:prSet>
      <dgm:spPr/>
    </dgm:pt>
    <dgm:pt modelId="{B502AAC8-F1B0-49FF-8154-51F1DE6A5FC1}" type="pres">
      <dgm:prSet presAssocID="{8704EEF8-31BC-483A-9DF1-F9DF3352D699}" presName="composite" presStyleCnt="0"/>
      <dgm:spPr/>
    </dgm:pt>
    <dgm:pt modelId="{E17B80E1-7BAB-4E41-A74B-EC1A9DBAD870}" type="pres">
      <dgm:prSet presAssocID="{8704EEF8-31BC-483A-9DF1-F9DF3352D699}" presName="imgShp" presStyleLbl="fgImgPlace1" presStyleIdx="0" presStyleCnt="5" custScaleX="43914" custScaleY="43913"/>
      <dgm:spPr>
        <a:solidFill>
          <a:srgbClr val="C00000"/>
        </a:solidFill>
        <a:ln>
          <a:solidFill>
            <a:srgbClr val="C00000"/>
          </a:solidFill>
        </a:ln>
      </dgm:spPr>
    </dgm:pt>
    <dgm:pt modelId="{CA317B56-0599-4F56-A0B7-415975366334}" type="pres">
      <dgm:prSet presAssocID="{8704EEF8-31BC-483A-9DF1-F9DF3352D699}" presName="txShp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41F1531-1F86-47AC-9682-8A98E07CB27E}" type="pres">
      <dgm:prSet presAssocID="{8FEDB42F-9C58-414E-AA76-060A2FB456FF}" presName="spacing" presStyleCnt="0"/>
      <dgm:spPr/>
    </dgm:pt>
    <dgm:pt modelId="{A5F20255-A99A-4859-9275-EC1E9396587C}" type="pres">
      <dgm:prSet presAssocID="{0B0EEEB7-3418-4075-80F0-08485E22010A}" presName="composite" presStyleCnt="0"/>
      <dgm:spPr/>
    </dgm:pt>
    <dgm:pt modelId="{185E2DE2-1D5B-4B4D-B945-DFDDF2C33608}" type="pres">
      <dgm:prSet presAssocID="{0B0EEEB7-3418-4075-80F0-08485E22010A}" presName="imgShp" presStyleLbl="fgImgPlace1" presStyleIdx="1" presStyleCnt="5" custScaleX="43914" custScaleY="43913"/>
      <dgm:spPr>
        <a:solidFill>
          <a:schemeClr val="tx2"/>
        </a:solidFill>
        <a:ln>
          <a:solidFill>
            <a:schemeClr val="tx2"/>
          </a:solidFill>
        </a:ln>
      </dgm:spPr>
    </dgm:pt>
    <dgm:pt modelId="{BD7E4BD3-B707-4DAE-862C-B2CCAE37C549}" type="pres">
      <dgm:prSet presAssocID="{0B0EEEB7-3418-4075-80F0-08485E22010A}" presName="txShp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3DB4B76-A7F4-44CC-980A-61F2EC094096}" type="pres">
      <dgm:prSet presAssocID="{0B83E4A4-B25B-4FB2-A90C-765A8A377CB6}" presName="spacing" presStyleCnt="0"/>
      <dgm:spPr/>
    </dgm:pt>
    <dgm:pt modelId="{6A9B6AAF-EB12-48E2-A5F4-9983EEF05B0C}" type="pres">
      <dgm:prSet presAssocID="{00575ACA-C387-4BB4-ADFD-1B2BFC94BEE9}" presName="composite" presStyleCnt="0"/>
      <dgm:spPr/>
    </dgm:pt>
    <dgm:pt modelId="{F13C8B11-2853-4A6E-A433-AAA58C84128B}" type="pres">
      <dgm:prSet presAssocID="{00575ACA-C387-4BB4-ADFD-1B2BFC94BEE9}" presName="imgShp" presStyleLbl="fgImgPlace1" presStyleIdx="2" presStyleCnt="5" custScaleX="43914" custScaleY="43913"/>
      <dgm:spPr>
        <a:solidFill>
          <a:srgbClr val="92D050"/>
        </a:solidFill>
        <a:ln>
          <a:solidFill>
            <a:srgbClr val="92D050"/>
          </a:solidFill>
        </a:ln>
      </dgm:spPr>
    </dgm:pt>
    <dgm:pt modelId="{CC97B532-372C-4341-9F51-4EDF589A5E16}" type="pres">
      <dgm:prSet presAssocID="{00575ACA-C387-4BB4-ADFD-1B2BFC94BEE9}" presName="txShp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C782933-305D-4A66-86EB-142BD8744A28}" type="pres">
      <dgm:prSet presAssocID="{5BD23F4A-F4D7-4701-8FFD-A4CDDFBC6310}" presName="spacing" presStyleCnt="0"/>
      <dgm:spPr/>
    </dgm:pt>
    <dgm:pt modelId="{16C816EF-B28F-4EAF-B312-D0043B8DBD1F}" type="pres">
      <dgm:prSet presAssocID="{B4E9D314-CC87-45D8-AC1A-D37558C878D9}" presName="composite" presStyleCnt="0"/>
      <dgm:spPr/>
    </dgm:pt>
    <dgm:pt modelId="{1406A248-9C69-41E6-8D85-0ED4F0938136}" type="pres">
      <dgm:prSet presAssocID="{B4E9D314-CC87-45D8-AC1A-D37558C878D9}" presName="imgShp" presStyleLbl="fgImgPlace1" presStyleIdx="3" presStyleCnt="5" custScaleX="43914" custScaleY="43913"/>
      <dgm:spPr>
        <a:solidFill>
          <a:schemeClr val="accent1">
            <a:lumMod val="60000"/>
            <a:lumOff val="40000"/>
          </a:schemeClr>
        </a:solidFill>
        <a:ln>
          <a:solidFill>
            <a:schemeClr val="accent1">
              <a:lumMod val="60000"/>
              <a:lumOff val="40000"/>
            </a:schemeClr>
          </a:solidFill>
        </a:ln>
      </dgm:spPr>
    </dgm:pt>
    <dgm:pt modelId="{94F11791-EE9D-458C-9C0D-8C4DF815BFCA}" type="pres">
      <dgm:prSet presAssocID="{B4E9D314-CC87-45D8-AC1A-D37558C878D9}" presName="txShp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C48A2A1-744E-4215-9C21-5D84FCA67219}" type="pres">
      <dgm:prSet presAssocID="{03D8956F-E5AF-4AFB-88CA-6F876F28F876}" presName="spacing" presStyleCnt="0"/>
      <dgm:spPr/>
    </dgm:pt>
    <dgm:pt modelId="{C664E10B-C7A1-4921-9D3A-2CABBD9A32A8}" type="pres">
      <dgm:prSet presAssocID="{A420A148-CD3A-4180-AF7A-590D94CB1CF3}" presName="composite" presStyleCnt="0"/>
      <dgm:spPr/>
    </dgm:pt>
    <dgm:pt modelId="{46B86910-D26B-4F95-9827-3ADC43AE18EE}" type="pres">
      <dgm:prSet presAssocID="{A420A148-CD3A-4180-AF7A-590D94CB1CF3}" presName="imgShp" presStyleLbl="fgImgPlace1" presStyleIdx="4" presStyleCnt="5" custScaleX="43914" custScaleY="43913"/>
      <dgm:spPr>
        <a:solidFill>
          <a:srgbClr val="7030A0"/>
        </a:solidFill>
        <a:ln>
          <a:solidFill>
            <a:srgbClr val="7030A0"/>
          </a:solidFill>
        </a:ln>
      </dgm:spPr>
    </dgm:pt>
    <dgm:pt modelId="{D0FD797F-4E73-4FC3-B01F-0D74CF9244CE}" type="pres">
      <dgm:prSet presAssocID="{A420A148-CD3A-4180-AF7A-590D94CB1CF3}" presName="txShp" presStyleLbl="node1" presStyleIdx="4" presStyleCnt="5" custLinFactNeighborX="272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EC1772A-CC0F-4C3C-91AE-193C7E90D94E}" type="presOf" srcId="{00575ACA-C387-4BB4-ADFD-1B2BFC94BEE9}" destId="{CC97B532-372C-4341-9F51-4EDF589A5E16}" srcOrd="0" destOrd="0" presId="urn:microsoft.com/office/officeart/2005/8/layout/vList3"/>
    <dgm:cxn modelId="{753D44EB-733B-4CCB-BF29-25FE421F64CB}" srcId="{3F3692B3-BCBF-46B2-BE36-9E9229C2EB6C}" destId="{00575ACA-C387-4BB4-ADFD-1B2BFC94BEE9}" srcOrd="2" destOrd="0" parTransId="{2C2A25AA-EA06-4583-B533-98D7CC1C1062}" sibTransId="{5BD23F4A-F4D7-4701-8FFD-A4CDDFBC6310}"/>
    <dgm:cxn modelId="{B63470C2-ABB3-450B-8D03-A310608DF641}" type="presOf" srcId="{8704EEF8-31BC-483A-9DF1-F9DF3352D699}" destId="{CA317B56-0599-4F56-A0B7-415975366334}" srcOrd="0" destOrd="0" presId="urn:microsoft.com/office/officeart/2005/8/layout/vList3"/>
    <dgm:cxn modelId="{5A95059D-51D6-4D3B-9253-BF88A0B01545}" srcId="{3F3692B3-BCBF-46B2-BE36-9E9229C2EB6C}" destId="{0B0EEEB7-3418-4075-80F0-08485E22010A}" srcOrd="1" destOrd="0" parTransId="{D6D65466-D3C7-4E8F-B3B9-C503976F9D61}" sibTransId="{0B83E4A4-B25B-4FB2-A90C-765A8A377CB6}"/>
    <dgm:cxn modelId="{0D95DE93-D19D-4BE7-B85B-3DE51E6BA96B}" srcId="{3F3692B3-BCBF-46B2-BE36-9E9229C2EB6C}" destId="{8704EEF8-31BC-483A-9DF1-F9DF3352D699}" srcOrd="0" destOrd="0" parTransId="{EC6E2AF8-9736-4271-B632-D1A777A5B047}" sibTransId="{8FEDB42F-9C58-414E-AA76-060A2FB456FF}"/>
    <dgm:cxn modelId="{8AD6D60C-34C3-4D96-ADFE-BB9CB022F160}" type="presOf" srcId="{B4E9D314-CC87-45D8-AC1A-D37558C878D9}" destId="{94F11791-EE9D-458C-9C0D-8C4DF815BFCA}" srcOrd="0" destOrd="0" presId="urn:microsoft.com/office/officeart/2005/8/layout/vList3"/>
    <dgm:cxn modelId="{EAABC2E1-BB71-43A3-94A2-BD87E87CF6D5}" srcId="{3F3692B3-BCBF-46B2-BE36-9E9229C2EB6C}" destId="{A420A148-CD3A-4180-AF7A-590D94CB1CF3}" srcOrd="4" destOrd="0" parTransId="{79ADEC20-172C-4238-9319-240D26811FB2}" sibTransId="{906CAEA3-8DCC-4A4A-9197-A36FBA54A00B}"/>
    <dgm:cxn modelId="{0D6223ED-536F-42FB-8D19-9F3593A0704C}" type="presOf" srcId="{0B0EEEB7-3418-4075-80F0-08485E22010A}" destId="{BD7E4BD3-B707-4DAE-862C-B2CCAE37C549}" srcOrd="0" destOrd="0" presId="urn:microsoft.com/office/officeart/2005/8/layout/vList3"/>
    <dgm:cxn modelId="{C4E54557-7872-465C-96ED-EB0451E8BDD5}" srcId="{3F3692B3-BCBF-46B2-BE36-9E9229C2EB6C}" destId="{B4E9D314-CC87-45D8-AC1A-D37558C878D9}" srcOrd="3" destOrd="0" parTransId="{243235BE-FDF5-4854-AA1B-A678BDA2D8B2}" sibTransId="{03D8956F-E5AF-4AFB-88CA-6F876F28F876}"/>
    <dgm:cxn modelId="{74748E87-F584-4747-98DE-50C79580613B}" type="presOf" srcId="{3F3692B3-BCBF-46B2-BE36-9E9229C2EB6C}" destId="{D3AE978C-494B-41A3-B686-3D9FDCD47707}" srcOrd="0" destOrd="0" presId="urn:microsoft.com/office/officeart/2005/8/layout/vList3"/>
    <dgm:cxn modelId="{D9A50B3B-5B9B-42BC-A321-8F0AF22E7C38}" type="presOf" srcId="{A420A148-CD3A-4180-AF7A-590D94CB1CF3}" destId="{D0FD797F-4E73-4FC3-B01F-0D74CF9244CE}" srcOrd="0" destOrd="0" presId="urn:microsoft.com/office/officeart/2005/8/layout/vList3"/>
    <dgm:cxn modelId="{A18CBA61-A199-488B-B630-FCB440EDA70B}" type="presParOf" srcId="{D3AE978C-494B-41A3-B686-3D9FDCD47707}" destId="{B502AAC8-F1B0-49FF-8154-51F1DE6A5FC1}" srcOrd="0" destOrd="0" presId="urn:microsoft.com/office/officeart/2005/8/layout/vList3"/>
    <dgm:cxn modelId="{52435EC2-FD55-4F19-B17F-6FB76C6D2B4D}" type="presParOf" srcId="{B502AAC8-F1B0-49FF-8154-51F1DE6A5FC1}" destId="{E17B80E1-7BAB-4E41-A74B-EC1A9DBAD870}" srcOrd="0" destOrd="0" presId="urn:microsoft.com/office/officeart/2005/8/layout/vList3"/>
    <dgm:cxn modelId="{8477E276-056F-4FFD-8F28-7A677A5ACC4A}" type="presParOf" srcId="{B502AAC8-F1B0-49FF-8154-51F1DE6A5FC1}" destId="{CA317B56-0599-4F56-A0B7-415975366334}" srcOrd="1" destOrd="0" presId="urn:microsoft.com/office/officeart/2005/8/layout/vList3"/>
    <dgm:cxn modelId="{DE900B10-6458-4294-9216-919D99BC8F3B}" type="presParOf" srcId="{D3AE978C-494B-41A3-B686-3D9FDCD47707}" destId="{D41F1531-1F86-47AC-9682-8A98E07CB27E}" srcOrd="1" destOrd="0" presId="urn:microsoft.com/office/officeart/2005/8/layout/vList3"/>
    <dgm:cxn modelId="{AEB02C5E-0F08-48B9-8BD6-50BF52157833}" type="presParOf" srcId="{D3AE978C-494B-41A3-B686-3D9FDCD47707}" destId="{A5F20255-A99A-4859-9275-EC1E9396587C}" srcOrd="2" destOrd="0" presId="urn:microsoft.com/office/officeart/2005/8/layout/vList3"/>
    <dgm:cxn modelId="{382F80B9-7C3F-4C06-AC27-78F3E601D5F5}" type="presParOf" srcId="{A5F20255-A99A-4859-9275-EC1E9396587C}" destId="{185E2DE2-1D5B-4B4D-B945-DFDDF2C33608}" srcOrd="0" destOrd="0" presId="urn:microsoft.com/office/officeart/2005/8/layout/vList3"/>
    <dgm:cxn modelId="{DAFAFFA7-7F3B-476D-AAFE-0678DBC8677C}" type="presParOf" srcId="{A5F20255-A99A-4859-9275-EC1E9396587C}" destId="{BD7E4BD3-B707-4DAE-862C-B2CCAE37C549}" srcOrd="1" destOrd="0" presId="urn:microsoft.com/office/officeart/2005/8/layout/vList3"/>
    <dgm:cxn modelId="{322D3246-C67C-467D-9AC0-5AB8D0B01451}" type="presParOf" srcId="{D3AE978C-494B-41A3-B686-3D9FDCD47707}" destId="{13DB4B76-A7F4-44CC-980A-61F2EC094096}" srcOrd="3" destOrd="0" presId="urn:microsoft.com/office/officeart/2005/8/layout/vList3"/>
    <dgm:cxn modelId="{87B974F0-F65F-4863-B94F-A03E9A23BE7F}" type="presParOf" srcId="{D3AE978C-494B-41A3-B686-3D9FDCD47707}" destId="{6A9B6AAF-EB12-48E2-A5F4-9983EEF05B0C}" srcOrd="4" destOrd="0" presId="urn:microsoft.com/office/officeart/2005/8/layout/vList3"/>
    <dgm:cxn modelId="{819503AE-5300-45E4-B0A7-33FDCB4CFC51}" type="presParOf" srcId="{6A9B6AAF-EB12-48E2-A5F4-9983EEF05B0C}" destId="{F13C8B11-2853-4A6E-A433-AAA58C84128B}" srcOrd="0" destOrd="0" presId="urn:microsoft.com/office/officeart/2005/8/layout/vList3"/>
    <dgm:cxn modelId="{EC91C8BE-DFD5-40C9-A0DB-A96B0AF8BA35}" type="presParOf" srcId="{6A9B6AAF-EB12-48E2-A5F4-9983EEF05B0C}" destId="{CC97B532-372C-4341-9F51-4EDF589A5E16}" srcOrd="1" destOrd="0" presId="urn:microsoft.com/office/officeart/2005/8/layout/vList3"/>
    <dgm:cxn modelId="{8E343AA0-11FA-405A-8E00-D916087D3562}" type="presParOf" srcId="{D3AE978C-494B-41A3-B686-3D9FDCD47707}" destId="{3C782933-305D-4A66-86EB-142BD8744A28}" srcOrd="5" destOrd="0" presId="urn:microsoft.com/office/officeart/2005/8/layout/vList3"/>
    <dgm:cxn modelId="{0683B019-C151-4F29-BF70-8CA13D7524D0}" type="presParOf" srcId="{D3AE978C-494B-41A3-B686-3D9FDCD47707}" destId="{16C816EF-B28F-4EAF-B312-D0043B8DBD1F}" srcOrd="6" destOrd="0" presId="urn:microsoft.com/office/officeart/2005/8/layout/vList3"/>
    <dgm:cxn modelId="{B8DA3B39-39D6-497F-8C76-7CAC75FA4C2E}" type="presParOf" srcId="{16C816EF-B28F-4EAF-B312-D0043B8DBD1F}" destId="{1406A248-9C69-41E6-8D85-0ED4F0938136}" srcOrd="0" destOrd="0" presId="urn:microsoft.com/office/officeart/2005/8/layout/vList3"/>
    <dgm:cxn modelId="{62093153-14F9-4583-87E7-8044143FAD68}" type="presParOf" srcId="{16C816EF-B28F-4EAF-B312-D0043B8DBD1F}" destId="{94F11791-EE9D-458C-9C0D-8C4DF815BFCA}" srcOrd="1" destOrd="0" presId="urn:microsoft.com/office/officeart/2005/8/layout/vList3"/>
    <dgm:cxn modelId="{B37C554B-B152-47DB-A512-10529DE61014}" type="presParOf" srcId="{D3AE978C-494B-41A3-B686-3D9FDCD47707}" destId="{AC48A2A1-744E-4215-9C21-5D84FCA67219}" srcOrd="7" destOrd="0" presId="urn:microsoft.com/office/officeart/2005/8/layout/vList3"/>
    <dgm:cxn modelId="{7918C9A5-563F-43C3-BFAD-677B4028E030}" type="presParOf" srcId="{D3AE978C-494B-41A3-B686-3D9FDCD47707}" destId="{C664E10B-C7A1-4921-9D3A-2CABBD9A32A8}" srcOrd="8" destOrd="0" presId="urn:microsoft.com/office/officeart/2005/8/layout/vList3"/>
    <dgm:cxn modelId="{A937D54A-F363-4BA1-8E95-7B031AFF8DC2}" type="presParOf" srcId="{C664E10B-C7A1-4921-9D3A-2CABBD9A32A8}" destId="{46B86910-D26B-4F95-9827-3ADC43AE18EE}" srcOrd="0" destOrd="0" presId="urn:microsoft.com/office/officeart/2005/8/layout/vList3"/>
    <dgm:cxn modelId="{CF06102C-00D4-490C-AACF-0AA06B161E6A}" type="presParOf" srcId="{C664E10B-C7A1-4921-9D3A-2CABBD9A32A8}" destId="{D0FD797F-4E73-4FC3-B01F-0D74CF9244CE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3F3692B3-BCBF-46B2-BE36-9E9229C2EB6C}" type="doc">
      <dgm:prSet loTypeId="urn:microsoft.com/office/officeart/2005/8/layout/vList3" loCatId="list" qsTypeId="urn:microsoft.com/office/officeart/2005/8/quickstyle/simple1" qsCatId="simple" csTypeId="urn:microsoft.com/office/officeart/2005/8/colors/colorful3" csCatId="colorful" phldr="1"/>
      <dgm:spPr/>
    </dgm:pt>
    <dgm:pt modelId="{8704EEF8-31BC-483A-9DF1-F9DF3352D69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1080,97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EC6E2AF8-9736-4271-B632-D1A777A5B047}" type="parTrans" cxnId="{0D95DE93-D19D-4BE7-B85B-3DE51E6BA96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8FEDB42F-9C58-414E-AA76-060A2FB456FF}" type="sibTrans" cxnId="{0D95DE93-D19D-4BE7-B85B-3DE51E6BA96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B0EEEB7-3418-4075-80F0-08485E22010A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32,35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D6D65466-D3C7-4E8F-B3B9-C503976F9D61}" type="parTrans" cxnId="{5A95059D-51D6-4D3B-9253-BF88A0B0154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B83E4A4-B25B-4FB2-A90C-765A8A377CB6}" type="sibTrans" cxnId="{5A95059D-51D6-4D3B-9253-BF88A0B0154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0575ACA-C387-4BB4-ADFD-1B2BFC94BEE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33,57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2C2A25AA-EA06-4583-B533-98D7CC1C1062}" type="parTrans" cxnId="{753D44EB-733B-4CCB-BF29-25FE421F64C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5BD23F4A-F4D7-4701-8FFD-A4CDDFBC6310}" type="sibTrans" cxnId="{753D44EB-733B-4CCB-BF29-25FE421F64C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A420A148-CD3A-4180-AF7A-590D94CB1CF3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2,37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79ADEC20-172C-4238-9319-240D26811FB2}" type="parTrans" cxnId="{EAABC2E1-BB71-43A3-94A2-BD87E87CF6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906CAEA3-8DCC-4A4A-9197-A36FBA54A00B}" type="sibTrans" cxnId="{EAABC2E1-BB71-43A3-94A2-BD87E87CF6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B4E9D314-CC87-45D8-AC1A-D37558C878D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kk-KZ" sz="800" b="1" dirty="0" smtClean="0">
              <a:ln>
                <a:noFill/>
              </a:ln>
              <a:solidFill>
                <a:schemeClr val="tx1"/>
              </a:solidFill>
            </a:rPr>
            <a:t>-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243235BE-FDF5-4854-AA1B-A678BDA2D8B2}" type="parTrans" cxnId="{C4E54557-7872-465C-96ED-EB0451E8BD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3D8956F-E5AF-4AFB-88CA-6F876F28F876}" type="sibTrans" cxnId="{C4E54557-7872-465C-96ED-EB0451E8BD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D3AE978C-494B-41A3-B686-3D9FDCD47707}" type="pres">
      <dgm:prSet presAssocID="{3F3692B3-BCBF-46B2-BE36-9E9229C2EB6C}" presName="linearFlow" presStyleCnt="0">
        <dgm:presLayoutVars>
          <dgm:dir/>
          <dgm:resizeHandles val="exact"/>
        </dgm:presLayoutVars>
      </dgm:prSet>
      <dgm:spPr/>
    </dgm:pt>
    <dgm:pt modelId="{B502AAC8-F1B0-49FF-8154-51F1DE6A5FC1}" type="pres">
      <dgm:prSet presAssocID="{8704EEF8-31BC-483A-9DF1-F9DF3352D699}" presName="composite" presStyleCnt="0"/>
      <dgm:spPr/>
    </dgm:pt>
    <dgm:pt modelId="{E17B80E1-7BAB-4E41-A74B-EC1A9DBAD870}" type="pres">
      <dgm:prSet presAssocID="{8704EEF8-31BC-483A-9DF1-F9DF3352D699}" presName="imgShp" presStyleLbl="fgImgPlace1" presStyleIdx="0" presStyleCnt="5" custScaleX="43914" custScaleY="43913"/>
      <dgm:spPr>
        <a:solidFill>
          <a:srgbClr val="C00000"/>
        </a:solidFill>
        <a:ln>
          <a:solidFill>
            <a:srgbClr val="C00000"/>
          </a:solidFill>
        </a:ln>
      </dgm:spPr>
    </dgm:pt>
    <dgm:pt modelId="{CA317B56-0599-4F56-A0B7-415975366334}" type="pres">
      <dgm:prSet presAssocID="{8704EEF8-31BC-483A-9DF1-F9DF3352D699}" presName="txShp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41F1531-1F86-47AC-9682-8A98E07CB27E}" type="pres">
      <dgm:prSet presAssocID="{8FEDB42F-9C58-414E-AA76-060A2FB456FF}" presName="spacing" presStyleCnt="0"/>
      <dgm:spPr/>
    </dgm:pt>
    <dgm:pt modelId="{A5F20255-A99A-4859-9275-EC1E9396587C}" type="pres">
      <dgm:prSet presAssocID="{0B0EEEB7-3418-4075-80F0-08485E22010A}" presName="composite" presStyleCnt="0"/>
      <dgm:spPr/>
    </dgm:pt>
    <dgm:pt modelId="{185E2DE2-1D5B-4B4D-B945-DFDDF2C33608}" type="pres">
      <dgm:prSet presAssocID="{0B0EEEB7-3418-4075-80F0-08485E22010A}" presName="imgShp" presStyleLbl="fgImgPlace1" presStyleIdx="1" presStyleCnt="5" custScaleX="43914" custScaleY="43913"/>
      <dgm:spPr>
        <a:solidFill>
          <a:schemeClr val="tx2"/>
        </a:solidFill>
        <a:ln>
          <a:solidFill>
            <a:schemeClr val="tx2"/>
          </a:solidFill>
        </a:ln>
      </dgm:spPr>
    </dgm:pt>
    <dgm:pt modelId="{BD7E4BD3-B707-4DAE-862C-B2CCAE37C549}" type="pres">
      <dgm:prSet presAssocID="{0B0EEEB7-3418-4075-80F0-08485E22010A}" presName="txShp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3DB4B76-A7F4-44CC-980A-61F2EC094096}" type="pres">
      <dgm:prSet presAssocID="{0B83E4A4-B25B-4FB2-A90C-765A8A377CB6}" presName="spacing" presStyleCnt="0"/>
      <dgm:spPr/>
    </dgm:pt>
    <dgm:pt modelId="{6A9B6AAF-EB12-48E2-A5F4-9983EEF05B0C}" type="pres">
      <dgm:prSet presAssocID="{00575ACA-C387-4BB4-ADFD-1B2BFC94BEE9}" presName="composite" presStyleCnt="0"/>
      <dgm:spPr/>
    </dgm:pt>
    <dgm:pt modelId="{F13C8B11-2853-4A6E-A433-AAA58C84128B}" type="pres">
      <dgm:prSet presAssocID="{00575ACA-C387-4BB4-ADFD-1B2BFC94BEE9}" presName="imgShp" presStyleLbl="fgImgPlace1" presStyleIdx="2" presStyleCnt="5" custScaleX="43914" custScaleY="43913"/>
      <dgm:spPr>
        <a:solidFill>
          <a:srgbClr val="92D050"/>
        </a:solidFill>
        <a:ln>
          <a:solidFill>
            <a:srgbClr val="92D050"/>
          </a:solidFill>
        </a:ln>
      </dgm:spPr>
    </dgm:pt>
    <dgm:pt modelId="{CC97B532-372C-4341-9F51-4EDF589A5E16}" type="pres">
      <dgm:prSet presAssocID="{00575ACA-C387-4BB4-ADFD-1B2BFC94BEE9}" presName="txShp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C782933-305D-4A66-86EB-142BD8744A28}" type="pres">
      <dgm:prSet presAssocID="{5BD23F4A-F4D7-4701-8FFD-A4CDDFBC6310}" presName="spacing" presStyleCnt="0"/>
      <dgm:spPr/>
    </dgm:pt>
    <dgm:pt modelId="{16C816EF-B28F-4EAF-B312-D0043B8DBD1F}" type="pres">
      <dgm:prSet presAssocID="{B4E9D314-CC87-45D8-AC1A-D37558C878D9}" presName="composite" presStyleCnt="0"/>
      <dgm:spPr/>
    </dgm:pt>
    <dgm:pt modelId="{1406A248-9C69-41E6-8D85-0ED4F0938136}" type="pres">
      <dgm:prSet presAssocID="{B4E9D314-CC87-45D8-AC1A-D37558C878D9}" presName="imgShp" presStyleLbl="fgImgPlace1" presStyleIdx="3" presStyleCnt="5" custScaleX="43914" custScaleY="43913"/>
      <dgm:spPr>
        <a:solidFill>
          <a:schemeClr val="accent1">
            <a:lumMod val="60000"/>
            <a:lumOff val="40000"/>
          </a:schemeClr>
        </a:solidFill>
        <a:ln>
          <a:solidFill>
            <a:schemeClr val="accent1">
              <a:lumMod val="60000"/>
              <a:lumOff val="40000"/>
            </a:schemeClr>
          </a:solidFill>
        </a:ln>
      </dgm:spPr>
    </dgm:pt>
    <dgm:pt modelId="{94F11791-EE9D-458C-9C0D-8C4DF815BFCA}" type="pres">
      <dgm:prSet presAssocID="{B4E9D314-CC87-45D8-AC1A-D37558C878D9}" presName="txShp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C48A2A1-744E-4215-9C21-5D84FCA67219}" type="pres">
      <dgm:prSet presAssocID="{03D8956F-E5AF-4AFB-88CA-6F876F28F876}" presName="spacing" presStyleCnt="0"/>
      <dgm:spPr/>
    </dgm:pt>
    <dgm:pt modelId="{C664E10B-C7A1-4921-9D3A-2CABBD9A32A8}" type="pres">
      <dgm:prSet presAssocID="{A420A148-CD3A-4180-AF7A-590D94CB1CF3}" presName="composite" presStyleCnt="0"/>
      <dgm:spPr/>
    </dgm:pt>
    <dgm:pt modelId="{46B86910-D26B-4F95-9827-3ADC43AE18EE}" type="pres">
      <dgm:prSet presAssocID="{A420A148-CD3A-4180-AF7A-590D94CB1CF3}" presName="imgShp" presStyleLbl="fgImgPlace1" presStyleIdx="4" presStyleCnt="5" custScaleX="43914" custScaleY="43913"/>
      <dgm:spPr>
        <a:solidFill>
          <a:srgbClr val="7030A0"/>
        </a:solidFill>
        <a:ln>
          <a:solidFill>
            <a:srgbClr val="7030A0"/>
          </a:solidFill>
        </a:ln>
      </dgm:spPr>
    </dgm:pt>
    <dgm:pt modelId="{D0FD797F-4E73-4FC3-B01F-0D74CF9244CE}" type="pres">
      <dgm:prSet presAssocID="{A420A148-CD3A-4180-AF7A-590D94CB1CF3}" presName="txShp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53D44EB-733B-4CCB-BF29-25FE421F64CB}" srcId="{3F3692B3-BCBF-46B2-BE36-9E9229C2EB6C}" destId="{00575ACA-C387-4BB4-ADFD-1B2BFC94BEE9}" srcOrd="2" destOrd="0" parTransId="{2C2A25AA-EA06-4583-B533-98D7CC1C1062}" sibTransId="{5BD23F4A-F4D7-4701-8FFD-A4CDDFBC6310}"/>
    <dgm:cxn modelId="{9D544D36-286B-48E8-98F2-4F47B5904D26}" type="presOf" srcId="{8704EEF8-31BC-483A-9DF1-F9DF3352D699}" destId="{CA317B56-0599-4F56-A0B7-415975366334}" srcOrd="0" destOrd="0" presId="urn:microsoft.com/office/officeart/2005/8/layout/vList3"/>
    <dgm:cxn modelId="{8E0B485D-9688-4D97-A5E5-71F9B2EF7BCC}" type="presOf" srcId="{3F3692B3-BCBF-46B2-BE36-9E9229C2EB6C}" destId="{D3AE978C-494B-41A3-B686-3D9FDCD47707}" srcOrd="0" destOrd="0" presId="urn:microsoft.com/office/officeart/2005/8/layout/vList3"/>
    <dgm:cxn modelId="{5A95059D-51D6-4D3B-9253-BF88A0B01545}" srcId="{3F3692B3-BCBF-46B2-BE36-9E9229C2EB6C}" destId="{0B0EEEB7-3418-4075-80F0-08485E22010A}" srcOrd="1" destOrd="0" parTransId="{D6D65466-D3C7-4E8F-B3B9-C503976F9D61}" sibTransId="{0B83E4A4-B25B-4FB2-A90C-765A8A377CB6}"/>
    <dgm:cxn modelId="{0D95DE93-D19D-4BE7-B85B-3DE51E6BA96B}" srcId="{3F3692B3-BCBF-46B2-BE36-9E9229C2EB6C}" destId="{8704EEF8-31BC-483A-9DF1-F9DF3352D699}" srcOrd="0" destOrd="0" parTransId="{EC6E2AF8-9736-4271-B632-D1A777A5B047}" sibTransId="{8FEDB42F-9C58-414E-AA76-060A2FB456FF}"/>
    <dgm:cxn modelId="{2F7EB785-DC9E-4DCF-9C54-4F81134A51C0}" type="presOf" srcId="{B4E9D314-CC87-45D8-AC1A-D37558C878D9}" destId="{94F11791-EE9D-458C-9C0D-8C4DF815BFCA}" srcOrd="0" destOrd="0" presId="urn:microsoft.com/office/officeart/2005/8/layout/vList3"/>
    <dgm:cxn modelId="{EAABC2E1-BB71-43A3-94A2-BD87E87CF6D5}" srcId="{3F3692B3-BCBF-46B2-BE36-9E9229C2EB6C}" destId="{A420A148-CD3A-4180-AF7A-590D94CB1CF3}" srcOrd="4" destOrd="0" parTransId="{79ADEC20-172C-4238-9319-240D26811FB2}" sibTransId="{906CAEA3-8DCC-4A4A-9197-A36FBA54A00B}"/>
    <dgm:cxn modelId="{C4E54557-7872-465C-96ED-EB0451E8BDD5}" srcId="{3F3692B3-BCBF-46B2-BE36-9E9229C2EB6C}" destId="{B4E9D314-CC87-45D8-AC1A-D37558C878D9}" srcOrd="3" destOrd="0" parTransId="{243235BE-FDF5-4854-AA1B-A678BDA2D8B2}" sibTransId="{03D8956F-E5AF-4AFB-88CA-6F876F28F876}"/>
    <dgm:cxn modelId="{9651CD19-4578-4417-A170-FE9E0900F9CC}" type="presOf" srcId="{0B0EEEB7-3418-4075-80F0-08485E22010A}" destId="{BD7E4BD3-B707-4DAE-862C-B2CCAE37C549}" srcOrd="0" destOrd="0" presId="urn:microsoft.com/office/officeart/2005/8/layout/vList3"/>
    <dgm:cxn modelId="{79633DA4-943D-4877-A186-5BEF9941A9DF}" type="presOf" srcId="{00575ACA-C387-4BB4-ADFD-1B2BFC94BEE9}" destId="{CC97B532-372C-4341-9F51-4EDF589A5E16}" srcOrd="0" destOrd="0" presId="urn:microsoft.com/office/officeart/2005/8/layout/vList3"/>
    <dgm:cxn modelId="{5FAF2C88-D389-4210-9418-D9918C658D59}" type="presOf" srcId="{A420A148-CD3A-4180-AF7A-590D94CB1CF3}" destId="{D0FD797F-4E73-4FC3-B01F-0D74CF9244CE}" srcOrd="0" destOrd="0" presId="urn:microsoft.com/office/officeart/2005/8/layout/vList3"/>
    <dgm:cxn modelId="{90AD5ED2-EEC6-4BC1-90B8-AE66B810BA84}" type="presParOf" srcId="{D3AE978C-494B-41A3-B686-3D9FDCD47707}" destId="{B502AAC8-F1B0-49FF-8154-51F1DE6A5FC1}" srcOrd="0" destOrd="0" presId="urn:microsoft.com/office/officeart/2005/8/layout/vList3"/>
    <dgm:cxn modelId="{2A484EDF-9AA3-4D8A-B029-89CF48D5C6AF}" type="presParOf" srcId="{B502AAC8-F1B0-49FF-8154-51F1DE6A5FC1}" destId="{E17B80E1-7BAB-4E41-A74B-EC1A9DBAD870}" srcOrd="0" destOrd="0" presId="urn:microsoft.com/office/officeart/2005/8/layout/vList3"/>
    <dgm:cxn modelId="{E2D0E123-942C-4A6A-A3D1-013290DF93D9}" type="presParOf" srcId="{B502AAC8-F1B0-49FF-8154-51F1DE6A5FC1}" destId="{CA317B56-0599-4F56-A0B7-415975366334}" srcOrd="1" destOrd="0" presId="urn:microsoft.com/office/officeart/2005/8/layout/vList3"/>
    <dgm:cxn modelId="{A076C437-5264-43C8-A575-D86F525090AB}" type="presParOf" srcId="{D3AE978C-494B-41A3-B686-3D9FDCD47707}" destId="{D41F1531-1F86-47AC-9682-8A98E07CB27E}" srcOrd="1" destOrd="0" presId="urn:microsoft.com/office/officeart/2005/8/layout/vList3"/>
    <dgm:cxn modelId="{986834AF-EEAB-45D0-B30D-59AEAFA11A30}" type="presParOf" srcId="{D3AE978C-494B-41A3-B686-3D9FDCD47707}" destId="{A5F20255-A99A-4859-9275-EC1E9396587C}" srcOrd="2" destOrd="0" presId="urn:microsoft.com/office/officeart/2005/8/layout/vList3"/>
    <dgm:cxn modelId="{1916E14A-CD5C-4E20-BE0A-AB203943775E}" type="presParOf" srcId="{A5F20255-A99A-4859-9275-EC1E9396587C}" destId="{185E2DE2-1D5B-4B4D-B945-DFDDF2C33608}" srcOrd="0" destOrd="0" presId="urn:microsoft.com/office/officeart/2005/8/layout/vList3"/>
    <dgm:cxn modelId="{209E6798-EED9-4E29-AE05-780477FCAE07}" type="presParOf" srcId="{A5F20255-A99A-4859-9275-EC1E9396587C}" destId="{BD7E4BD3-B707-4DAE-862C-B2CCAE37C549}" srcOrd="1" destOrd="0" presId="urn:microsoft.com/office/officeart/2005/8/layout/vList3"/>
    <dgm:cxn modelId="{D7578A5A-FE82-4AB7-AD1B-8CCC35AFB929}" type="presParOf" srcId="{D3AE978C-494B-41A3-B686-3D9FDCD47707}" destId="{13DB4B76-A7F4-44CC-980A-61F2EC094096}" srcOrd="3" destOrd="0" presId="urn:microsoft.com/office/officeart/2005/8/layout/vList3"/>
    <dgm:cxn modelId="{DF36E750-DA58-4645-BE72-AD4ECED3AEAE}" type="presParOf" srcId="{D3AE978C-494B-41A3-B686-3D9FDCD47707}" destId="{6A9B6AAF-EB12-48E2-A5F4-9983EEF05B0C}" srcOrd="4" destOrd="0" presId="urn:microsoft.com/office/officeart/2005/8/layout/vList3"/>
    <dgm:cxn modelId="{12D53B44-ECFC-4E8C-A91F-A21A6276AF56}" type="presParOf" srcId="{6A9B6AAF-EB12-48E2-A5F4-9983EEF05B0C}" destId="{F13C8B11-2853-4A6E-A433-AAA58C84128B}" srcOrd="0" destOrd="0" presId="urn:microsoft.com/office/officeart/2005/8/layout/vList3"/>
    <dgm:cxn modelId="{892914C3-9109-4BB4-AB7A-AA0F23B9EE39}" type="presParOf" srcId="{6A9B6AAF-EB12-48E2-A5F4-9983EEF05B0C}" destId="{CC97B532-372C-4341-9F51-4EDF589A5E16}" srcOrd="1" destOrd="0" presId="urn:microsoft.com/office/officeart/2005/8/layout/vList3"/>
    <dgm:cxn modelId="{2E0670AD-1A32-4EA7-8369-C51DB0F9B028}" type="presParOf" srcId="{D3AE978C-494B-41A3-B686-3D9FDCD47707}" destId="{3C782933-305D-4A66-86EB-142BD8744A28}" srcOrd="5" destOrd="0" presId="urn:microsoft.com/office/officeart/2005/8/layout/vList3"/>
    <dgm:cxn modelId="{CD3E9FDF-07C4-4D82-A4F8-849DCC1EFB06}" type="presParOf" srcId="{D3AE978C-494B-41A3-B686-3D9FDCD47707}" destId="{16C816EF-B28F-4EAF-B312-D0043B8DBD1F}" srcOrd="6" destOrd="0" presId="urn:microsoft.com/office/officeart/2005/8/layout/vList3"/>
    <dgm:cxn modelId="{08BD269D-9DE0-4FFE-8192-847B3672A7CA}" type="presParOf" srcId="{16C816EF-B28F-4EAF-B312-D0043B8DBD1F}" destId="{1406A248-9C69-41E6-8D85-0ED4F0938136}" srcOrd="0" destOrd="0" presId="urn:microsoft.com/office/officeart/2005/8/layout/vList3"/>
    <dgm:cxn modelId="{271F3864-9B56-40BF-8B20-18E8A1EDD9D1}" type="presParOf" srcId="{16C816EF-B28F-4EAF-B312-D0043B8DBD1F}" destId="{94F11791-EE9D-458C-9C0D-8C4DF815BFCA}" srcOrd="1" destOrd="0" presId="urn:microsoft.com/office/officeart/2005/8/layout/vList3"/>
    <dgm:cxn modelId="{45D315DB-849A-4B34-95EB-CC9712F0003D}" type="presParOf" srcId="{D3AE978C-494B-41A3-B686-3D9FDCD47707}" destId="{AC48A2A1-744E-4215-9C21-5D84FCA67219}" srcOrd="7" destOrd="0" presId="urn:microsoft.com/office/officeart/2005/8/layout/vList3"/>
    <dgm:cxn modelId="{5BB916E3-99EF-4F09-9412-6347CAB1C212}" type="presParOf" srcId="{D3AE978C-494B-41A3-B686-3D9FDCD47707}" destId="{C664E10B-C7A1-4921-9D3A-2CABBD9A32A8}" srcOrd="8" destOrd="0" presId="urn:microsoft.com/office/officeart/2005/8/layout/vList3"/>
    <dgm:cxn modelId="{953BF6EB-807D-4E21-9B4F-E9349D7FCB62}" type="presParOf" srcId="{C664E10B-C7A1-4921-9D3A-2CABBD9A32A8}" destId="{46B86910-D26B-4F95-9827-3ADC43AE18EE}" srcOrd="0" destOrd="0" presId="urn:microsoft.com/office/officeart/2005/8/layout/vList3"/>
    <dgm:cxn modelId="{7F6261BE-4B4E-4E3C-8662-A7C2ED26E751}" type="presParOf" srcId="{C664E10B-C7A1-4921-9D3A-2CABBD9A32A8}" destId="{D0FD797F-4E73-4FC3-B01F-0D74CF9244CE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32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3F3692B3-BCBF-46B2-BE36-9E9229C2EB6C}" type="doc">
      <dgm:prSet loTypeId="urn:microsoft.com/office/officeart/2005/8/layout/vList3" loCatId="list" qsTypeId="urn:microsoft.com/office/officeart/2005/8/quickstyle/simple1" qsCatId="simple" csTypeId="urn:microsoft.com/office/officeart/2005/8/colors/colorful3" csCatId="colorful" phldr="1"/>
      <dgm:spPr/>
    </dgm:pt>
    <dgm:pt modelId="{8704EEF8-31BC-483A-9DF1-F9DF3352D69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1403,0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EC6E2AF8-9736-4271-B632-D1A777A5B047}" type="parTrans" cxnId="{0D95DE93-D19D-4BE7-B85B-3DE51E6BA96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8FEDB42F-9C58-414E-AA76-060A2FB456FF}" type="sibTrans" cxnId="{0D95DE93-D19D-4BE7-B85B-3DE51E6BA96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B0EEEB7-3418-4075-80F0-08485E22010A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52,57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D6D65466-D3C7-4E8F-B3B9-C503976F9D61}" type="parTrans" cxnId="{5A95059D-51D6-4D3B-9253-BF88A0B0154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B83E4A4-B25B-4FB2-A90C-765A8A377CB6}" type="sibTrans" cxnId="{5A95059D-51D6-4D3B-9253-BF88A0B0154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0575ACA-C387-4BB4-ADFD-1B2BFC94BEE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46,24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2C2A25AA-EA06-4583-B533-98D7CC1C1062}" type="parTrans" cxnId="{753D44EB-733B-4CCB-BF29-25FE421F64C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5BD23F4A-F4D7-4701-8FFD-A4CDDFBC6310}" type="sibTrans" cxnId="{753D44EB-733B-4CCB-BF29-25FE421F64C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A420A148-CD3A-4180-AF7A-590D94CB1CF3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2,93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79ADEC20-172C-4238-9319-240D26811FB2}" type="parTrans" cxnId="{EAABC2E1-BB71-43A3-94A2-BD87E87CF6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906CAEA3-8DCC-4A4A-9197-A36FBA54A00B}" type="sibTrans" cxnId="{EAABC2E1-BB71-43A3-94A2-BD87E87CF6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B4E9D314-CC87-45D8-AC1A-D37558C878D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kk-KZ" sz="800" b="1" dirty="0" smtClean="0">
              <a:ln>
                <a:noFill/>
              </a:ln>
              <a:solidFill>
                <a:schemeClr val="tx1"/>
              </a:solidFill>
            </a:rPr>
            <a:t>84,24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243235BE-FDF5-4854-AA1B-A678BDA2D8B2}" type="parTrans" cxnId="{C4E54557-7872-465C-96ED-EB0451E8BD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3D8956F-E5AF-4AFB-88CA-6F876F28F876}" type="sibTrans" cxnId="{C4E54557-7872-465C-96ED-EB0451E8BD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D3AE978C-494B-41A3-B686-3D9FDCD47707}" type="pres">
      <dgm:prSet presAssocID="{3F3692B3-BCBF-46B2-BE36-9E9229C2EB6C}" presName="linearFlow" presStyleCnt="0">
        <dgm:presLayoutVars>
          <dgm:dir/>
          <dgm:resizeHandles val="exact"/>
        </dgm:presLayoutVars>
      </dgm:prSet>
      <dgm:spPr/>
    </dgm:pt>
    <dgm:pt modelId="{B502AAC8-F1B0-49FF-8154-51F1DE6A5FC1}" type="pres">
      <dgm:prSet presAssocID="{8704EEF8-31BC-483A-9DF1-F9DF3352D699}" presName="composite" presStyleCnt="0"/>
      <dgm:spPr/>
    </dgm:pt>
    <dgm:pt modelId="{E17B80E1-7BAB-4E41-A74B-EC1A9DBAD870}" type="pres">
      <dgm:prSet presAssocID="{8704EEF8-31BC-483A-9DF1-F9DF3352D699}" presName="imgShp" presStyleLbl="fgImgPlace1" presStyleIdx="0" presStyleCnt="5" custScaleX="43914" custScaleY="43913"/>
      <dgm:spPr>
        <a:solidFill>
          <a:srgbClr val="C00000"/>
        </a:solidFill>
        <a:ln>
          <a:solidFill>
            <a:srgbClr val="C00000"/>
          </a:solidFill>
        </a:ln>
      </dgm:spPr>
    </dgm:pt>
    <dgm:pt modelId="{CA317B56-0599-4F56-A0B7-415975366334}" type="pres">
      <dgm:prSet presAssocID="{8704EEF8-31BC-483A-9DF1-F9DF3352D699}" presName="txShp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41F1531-1F86-47AC-9682-8A98E07CB27E}" type="pres">
      <dgm:prSet presAssocID="{8FEDB42F-9C58-414E-AA76-060A2FB456FF}" presName="spacing" presStyleCnt="0"/>
      <dgm:spPr/>
    </dgm:pt>
    <dgm:pt modelId="{A5F20255-A99A-4859-9275-EC1E9396587C}" type="pres">
      <dgm:prSet presAssocID="{0B0EEEB7-3418-4075-80F0-08485E22010A}" presName="composite" presStyleCnt="0"/>
      <dgm:spPr/>
    </dgm:pt>
    <dgm:pt modelId="{185E2DE2-1D5B-4B4D-B945-DFDDF2C33608}" type="pres">
      <dgm:prSet presAssocID="{0B0EEEB7-3418-4075-80F0-08485E22010A}" presName="imgShp" presStyleLbl="fgImgPlace1" presStyleIdx="1" presStyleCnt="5" custScaleX="43914" custScaleY="43913"/>
      <dgm:spPr>
        <a:solidFill>
          <a:schemeClr val="tx2"/>
        </a:solidFill>
        <a:ln>
          <a:solidFill>
            <a:schemeClr val="tx2"/>
          </a:solidFill>
        </a:ln>
      </dgm:spPr>
    </dgm:pt>
    <dgm:pt modelId="{BD7E4BD3-B707-4DAE-862C-B2CCAE37C549}" type="pres">
      <dgm:prSet presAssocID="{0B0EEEB7-3418-4075-80F0-08485E22010A}" presName="txShp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3DB4B76-A7F4-44CC-980A-61F2EC094096}" type="pres">
      <dgm:prSet presAssocID="{0B83E4A4-B25B-4FB2-A90C-765A8A377CB6}" presName="spacing" presStyleCnt="0"/>
      <dgm:spPr/>
    </dgm:pt>
    <dgm:pt modelId="{6A9B6AAF-EB12-48E2-A5F4-9983EEF05B0C}" type="pres">
      <dgm:prSet presAssocID="{00575ACA-C387-4BB4-ADFD-1B2BFC94BEE9}" presName="composite" presStyleCnt="0"/>
      <dgm:spPr/>
    </dgm:pt>
    <dgm:pt modelId="{F13C8B11-2853-4A6E-A433-AAA58C84128B}" type="pres">
      <dgm:prSet presAssocID="{00575ACA-C387-4BB4-ADFD-1B2BFC94BEE9}" presName="imgShp" presStyleLbl="fgImgPlace1" presStyleIdx="2" presStyleCnt="5" custScaleX="43914" custScaleY="43913"/>
      <dgm:spPr>
        <a:solidFill>
          <a:srgbClr val="92D050"/>
        </a:solidFill>
        <a:ln>
          <a:solidFill>
            <a:srgbClr val="92D050"/>
          </a:solidFill>
        </a:ln>
      </dgm:spPr>
    </dgm:pt>
    <dgm:pt modelId="{CC97B532-372C-4341-9F51-4EDF589A5E16}" type="pres">
      <dgm:prSet presAssocID="{00575ACA-C387-4BB4-ADFD-1B2BFC94BEE9}" presName="txShp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C782933-305D-4A66-86EB-142BD8744A28}" type="pres">
      <dgm:prSet presAssocID="{5BD23F4A-F4D7-4701-8FFD-A4CDDFBC6310}" presName="spacing" presStyleCnt="0"/>
      <dgm:spPr/>
    </dgm:pt>
    <dgm:pt modelId="{16C816EF-B28F-4EAF-B312-D0043B8DBD1F}" type="pres">
      <dgm:prSet presAssocID="{B4E9D314-CC87-45D8-AC1A-D37558C878D9}" presName="composite" presStyleCnt="0"/>
      <dgm:spPr/>
    </dgm:pt>
    <dgm:pt modelId="{1406A248-9C69-41E6-8D85-0ED4F0938136}" type="pres">
      <dgm:prSet presAssocID="{B4E9D314-CC87-45D8-AC1A-D37558C878D9}" presName="imgShp" presStyleLbl="fgImgPlace1" presStyleIdx="3" presStyleCnt="5" custScaleX="43914" custScaleY="43913"/>
      <dgm:spPr>
        <a:solidFill>
          <a:schemeClr val="accent1">
            <a:lumMod val="60000"/>
            <a:lumOff val="40000"/>
          </a:schemeClr>
        </a:solidFill>
        <a:ln>
          <a:solidFill>
            <a:schemeClr val="accent1">
              <a:lumMod val="60000"/>
              <a:lumOff val="40000"/>
            </a:schemeClr>
          </a:solidFill>
        </a:ln>
      </dgm:spPr>
    </dgm:pt>
    <dgm:pt modelId="{94F11791-EE9D-458C-9C0D-8C4DF815BFCA}" type="pres">
      <dgm:prSet presAssocID="{B4E9D314-CC87-45D8-AC1A-D37558C878D9}" presName="txShp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C48A2A1-744E-4215-9C21-5D84FCA67219}" type="pres">
      <dgm:prSet presAssocID="{03D8956F-E5AF-4AFB-88CA-6F876F28F876}" presName="spacing" presStyleCnt="0"/>
      <dgm:spPr/>
    </dgm:pt>
    <dgm:pt modelId="{C664E10B-C7A1-4921-9D3A-2CABBD9A32A8}" type="pres">
      <dgm:prSet presAssocID="{A420A148-CD3A-4180-AF7A-590D94CB1CF3}" presName="composite" presStyleCnt="0"/>
      <dgm:spPr/>
    </dgm:pt>
    <dgm:pt modelId="{46B86910-D26B-4F95-9827-3ADC43AE18EE}" type="pres">
      <dgm:prSet presAssocID="{A420A148-CD3A-4180-AF7A-590D94CB1CF3}" presName="imgShp" presStyleLbl="fgImgPlace1" presStyleIdx="4" presStyleCnt="5" custScaleX="43914" custScaleY="43913"/>
      <dgm:spPr>
        <a:solidFill>
          <a:srgbClr val="7030A0"/>
        </a:solidFill>
        <a:ln>
          <a:solidFill>
            <a:srgbClr val="7030A0"/>
          </a:solidFill>
        </a:ln>
      </dgm:spPr>
    </dgm:pt>
    <dgm:pt modelId="{D0FD797F-4E73-4FC3-B01F-0D74CF9244CE}" type="pres">
      <dgm:prSet presAssocID="{A420A148-CD3A-4180-AF7A-590D94CB1CF3}" presName="txShp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ED9B41A-7B3A-41B9-ABDD-84BC925A1E1E}" type="presOf" srcId="{A420A148-CD3A-4180-AF7A-590D94CB1CF3}" destId="{D0FD797F-4E73-4FC3-B01F-0D74CF9244CE}" srcOrd="0" destOrd="0" presId="urn:microsoft.com/office/officeart/2005/8/layout/vList3"/>
    <dgm:cxn modelId="{753D44EB-733B-4CCB-BF29-25FE421F64CB}" srcId="{3F3692B3-BCBF-46B2-BE36-9E9229C2EB6C}" destId="{00575ACA-C387-4BB4-ADFD-1B2BFC94BEE9}" srcOrd="2" destOrd="0" parTransId="{2C2A25AA-EA06-4583-B533-98D7CC1C1062}" sibTransId="{5BD23F4A-F4D7-4701-8FFD-A4CDDFBC6310}"/>
    <dgm:cxn modelId="{75BF3624-EFF5-426C-9646-E70A418D82D0}" type="presOf" srcId="{B4E9D314-CC87-45D8-AC1A-D37558C878D9}" destId="{94F11791-EE9D-458C-9C0D-8C4DF815BFCA}" srcOrd="0" destOrd="0" presId="urn:microsoft.com/office/officeart/2005/8/layout/vList3"/>
    <dgm:cxn modelId="{9B6139D5-CC69-4AAD-8820-AD3FBF37E0D5}" type="presOf" srcId="{8704EEF8-31BC-483A-9DF1-F9DF3352D699}" destId="{CA317B56-0599-4F56-A0B7-415975366334}" srcOrd="0" destOrd="0" presId="urn:microsoft.com/office/officeart/2005/8/layout/vList3"/>
    <dgm:cxn modelId="{5A95059D-51D6-4D3B-9253-BF88A0B01545}" srcId="{3F3692B3-BCBF-46B2-BE36-9E9229C2EB6C}" destId="{0B0EEEB7-3418-4075-80F0-08485E22010A}" srcOrd="1" destOrd="0" parTransId="{D6D65466-D3C7-4E8F-B3B9-C503976F9D61}" sibTransId="{0B83E4A4-B25B-4FB2-A90C-765A8A377CB6}"/>
    <dgm:cxn modelId="{0D95DE93-D19D-4BE7-B85B-3DE51E6BA96B}" srcId="{3F3692B3-BCBF-46B2-BE36-9E9229C2EB6C}" destId="{8704EEF8-31BC-483A-9DF1-F9DF3352D699}" srcOrd="0" destOrd="0" parTransId="{EC6E2AF8-9736-4271-B632-D1A777A5B047}" sibTransId="{8FEDB42F-9C58-414E-AA76-060A2FB456FF}"/>
    <dgm:cxn modelId="{EAABC2E1-BB71-43A3-94A2-BD87E87CF6D5}" srcId="{3F3692B3-BCBF-46B2-BE36-9E9229C2EB6C}" destId="{A420A148-CD3A-4180-AF7A-590D94CB1CF3}" srcOrd="4" destOrd="0" parTransId="{79ADEC20-172C-4238-9319-240D26811FB2}" sibTransId="{906CAEA3-8DCC-4A4A-9197-A36FBA54A00B}"/>
    <dgm:cxn modelId="{C4E54557-7872-465C-96ED-EB0451E8BDD5}" srcId="{3F3692B3-BCBF-46B2-BE36-9E9229C2EB6C}" destId="{B4E9D314-CC87-45D8-AC1A-D37558C878D9}" srcOrd="3" destOrd="0" parTransId="{243235BE-FDF5-4854-AA1B-A678BDA2D8B2}" sibTransId="{03D8956F-E5AF-4AFB-88CA-6F876F28F876}"/>
    <dgm:cxn modelId="{925B3FE4-EAA9-4A7D-A285-F118766D385F}" type="presOf" srcId="{0B0EEEB7-3418-4075-80F0-08485E22010A}" destId="{BD7E4BD3-B707-4DAE-862C-B2CCAE37C549}" srcOrd="0" destOrd="0" presId="urn:microsoft.com/office/officeart/2005/8/layout/vList3"/>
    <dgm:cxn modelId="{500DE125-7449-4820-9397-577035D1BB53}" type="presOf" srcId="{00575ACA-C387-4BB4-ADFD-1B2BFC94BEE9}" destId="{CC97B532-372C-4341-9F51-4EDF589A5E16}" srcOrd="0" destOrd="0" presId="urn:microsoft.com/office/officeart/2005/8/layout/vList3"/>
    <dgm:cxn modelId="{DEC13DD5-74C8-4AED-8E0F-1C85A5605221}" type="presOf" srcId="{3F3692B3-BCBF-46B2-BE36-9E9229C2EB6C}" destId="{D3AE978C-494B-41A3-B686-3D9FDCD47707}" srcOrd="0" destOrd="0" presId="urn:microsoft.com/office/officeart/2005/8/layout/vList3"/>
    <dgm:cxn modelId="{1C395610-9556-44E1-95F1-5D2BEFBFBE40}" type="presParOf" srcId="{D3AE978C-494B-41A3-B686-3D9FDCD47707}" destId="{B502AAC8-F1B0-49FF-8154-51F1DE6A5FC1}" srcOrd="0" destOrd="0" presId="urn:microsoft.com/office/officeart/2005/8/layout/vList3"/>
    <dgm:cxn modelId="{6B3981CF-CEB0-4EEF-9350-CFA93A748255}" type="presParOf" srcId="{B502AAC8-F1B0-49FF-8154-51F1DE6A5FC1}" destId="{E17B80E1-7BAB-4E41-A74B-EC1A9DBAD870}" srcOrd="0" destOrd="0" presId="urn:microsoft.com/office/officeart/2005/8/layout/vList3"/>
    <dgm:cxn modelId="{D7E57D09-9681-40BF-88D9-0E1758F9324E}" type="presParOf" srcId="{B502AAC8-F1B0-49FF-8154-51F1DE6A5FC1}" destId="{CA317B56-0599-4F56-A0B7-415975366334}" srcOrd="1" destOrd="0" presId="urn:microsoft.com/office/officeart/2005/8/layout/vList3"/>
    <dgm:cxn modelId="{F7B54346-FB3C-49FE-9334-E2025944D06A}" type="presParOf" srcId="{D3AE978C-494B-41A3-B686-3D9FDCD47707}" destId="{D41F1531-1F86-47AC-9682-8A98E07CB27E}" srcOrd="1" destOrd="0" presId="urn:microsoft.com/office/officeart/2005/8/layout/vList3"/>
    <dgm:cxn modelId="{3E92DDA8-D49F-4B40-9B59-614B7B5CBC38}" type="presParOf" srcId="{D3AE978C-494B-41A3-B686-3D9FDCD47707}" destId="{A5F20255-A99A-4859-9275-EC1E9396587C}" srcOrd="2" destOrd="0" presId="urn:microsoft.com/office/officeart/2005/8/layout/vList3"/>
    <dgm:cxn modelId="{3D84C4CF-D2FA-49D4-A0E7-9695A4ABF39C}" type="presParOf" srcId="{A5F20255-A99A-4859-9275-EC1E9396587C}" destId="{185E2DE2-1D5B-4B4D-B945-DFDDF2C33608}" srcOrd="0" destOrd="0" presId="urn:microsoft.com/office/officeart/2005/8/layout/vList3"/>
    <dgm:cxn modelId="{ADCCBCEF-FA6A-4DF2-983B-60594445153D}" type="presParOf" srcId="{A5F20255-A99A-4859-9275-EC1E9396587C}" destId="{BD7E4BD3-B707-4DAE-862C-B2CCAE37C549}" srcOrd="1" destOrd="0" presId="urn:microsoft.com/office/officeart/2005/8/layout/vList3"/>
    <dgm:cxn modelId="{3B6A1D36-9F22-4CE0-AE7B-F65608291B65}" type="presParOf" srcId="{D3AE978C-494B-41A3-B686-3D9FDCD47707}" destId="{13DB4B76-A7F4-44CC-980A-61F2EC094096}" srcOrd="3" destOrd="0" presId="urn:microsoft.com/office/officeart/2005/8/layout/vList3"/>
    <dgm:cxn modelId="{065BD0F5-D80D-4E7B-9822-CD7F2F49FC50}" type="presParOf" srcId="{D3AE978C-494B-41A3-B686-3D9FDCD47707}" destId="{6A9B6AAF-EB12-48E2-A5F4-9983EEF05B0C}" srcOrd="4" destOrd="0" presId="urn:microsoft.com/office/officeart/2005/8/layout/vList3"/>
    <dgm:cxn modelId="{1528DA87-4159-4FA2-9C48-B33738C37279}" type="presParOf" srcId="{6A9B6AAF-EB12-48E2-A5F4-9983EEF05B0C}" destId="{F13C8B11-2853-4A6E-A433-AAA58C84128B}" srcOrd="0" destOrd="0" presId="urn:microsoft.com/office/officeart/2005/8/layout/vList3"/>
    <dgm:cxn modelId="{72DF379A-F2F9-404F-8127-1AECD7F41284}" type="presParOf" srcId="{6A9B6AAF-EB12-48E2-A5F4-9983EEF05B0C}" destId="{CC97B532-372C-4341-9F51-4EDF589A5E16}" srcOrd="1" destOrd="0" presId="urn:microsoft.com/office/officeart/2005/8/layout/vList3"/>
    <dgm:cxn modelId="{D0D5F518-7CC1-4F5F-8538-CE0EF80FCF14}" type="presParOf" srcId="{D3AE978C-494B-41A3-B686-3D9FDCD47707}" destId="{3C782933-305D-4A66-86EB-142BD8744A28}" srcOrd="5" destOrd="0" presId="urn:microsoft.com/office/officeart/2005/8/layout/vList3"/>
    <dgm:cxn modelId="{0F9D65C2-0C34-414B-B387-FA852C8623A0}" type="presParOf" srcId="{D3AE978C-494B-41A3-B686-3D9FDCD47707}" destId="{16C816EF-B28F-4EAF-B312-D0043B8DBD1F}" srcOrd="6" destOrd="0" presId="urn:microsoft.com/office/officeart/2005/8/layout/vList3"/>
    <dgm:cxn modelId="{2753E7F0-CC7C-4838-9614-C2BFC761BEEE}" type="presParOf" srcId="{16C816EF-B28F-4EAF-B312-D0043B8DBD1F}" destId="{1406A248-9C69-41E6-8D85-0ED4F0938136}" srcOrd="0" destOrd="0" presId="urn:microsoft.com/office/officeart/2005/8/layout/vList3"/>
    <dgm:cxn modelId="{4C5068DA-4ED9-4472-A85C-52DCF572D4E8}" type="presParOf" srcId="{16C816EF-B28F-4EAF-B312-D0043B8DBD1F}" destId="{94F11791-EE9D-458C-9C0D-8C4DF815BFCA}" srcOrd="1" destOrd="0" presId="urn:microsoft.com/office/officeart/2005/8/layout/vList3"/>
    <dgm:cxn modelId="{80793F4C-FD50-49E1-B6B3-BB74BF22CF84}" type="presParOf" srcId="{D3AE978C-494B-41A3-B686-3D9FDCD47707}" destId="{AC48A2A1-744E-4215-9C21-5D84FCA67219}" srcOrd="7" destOrd="0" presId="urn:microsoft.com/office/officeart/2005/8/layout/vList3"/>
    <dgm:cxn modelId="{3A4F2D32-A126-4C1B-8376-EE87842697C4}" type="presParOf" srcId="{D3AE978C-494B-41A3-B686-3D9FDCD47707}" destId="{C664E10B-C7A1-4921-9D3A-2CABBD9A32A8}" srcOrd="8" destOrd="0" presId="urn:microsoft.com/office/officeart/2005/8/layout/vList3"/>
    <dgm:cxn modelId="{BEDCE528-B415-45F9-99DA-360DFD0235A6}" type="presParOf" srcId="{C664E10B-C7A1-4921-9D3A-2CABBD9A32A8}" destId="{46B86910-D26B-4F95-9827-3ADC43AE18EE}" srcOrd="0" destOrd="0" presId="urn:microsoft.com/office/officeart/2005/8/layout/vList3"/>
    <dgm:cxn modelId="{FB51F9F3-6EC3-4D6E-B2A4-EFA787E6A4B5}" type="presParOf" srcId="{C664E10B-C7A1-4921-9D3A-2CABBD9A32A8}" destId="{D0FD797F-4E73-4FC3-B01F-0D74CF9244CE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3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3F3692B3-BCBF-46B2-BE36-9E9229C2EB6C}" type="doc">
      <dgm:prSet loTypeId="urn:microsoft.com/office/officeart/2005/8/layout/vList3" loCatId="list" qsTypeId="urn:microsoft.com/office/officeart/2005/8/quickstyle/simple1" qsCatId="simple" csTypeId="urn:microsoft.com/office/officeart/2005/8/colors/colorful3" csCatId="colorful" phldr="1"/>
      <dgm:spPr/>
    </dgm:pt>
    <dgm:pt modelId="{8704EEF8-31BC-483A-9DF1-F9DF3352D69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804,0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EC6E2AF8-9736-4271-B632-D1A777A5B047}" type="parTrans" cxnId="{0D95DE93-D19D-4BE7-B85B-3DE51E6BA96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8FEDB42F-9C58-414E-AA76-060A2FB456FF}" type="sibTrans" cxnId="{0D95DE93-D19D-4BE7-B85B-3DE51E6BA96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B0EEEB7-3418-4075-80F0-08485E22010A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49,0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D6D65466-D3C7-4E8F-B3B9-C503976F9D61}" type="parTrans" cxnId="{5A95059D-51D6-4D3B-9253-BF88A0B0154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B83E4A4-B25B-4FB2-A90C-765A8A377CB6}" type="sibTrans" cxnId="{5A95059D-51D6-4D3B-9253-BF88A0B0154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0575ACA-C387-4BB4-ADFD-1B2BFC94BEE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47,45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2C2A25AA-EA06-4583-B533-98D7CC1C1062}" type="parTrans" cxnId="{753D44EB-733B-4CCB-BF29-25FE421F64C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5BD23F4A-F4D7-4701-8FFD-A4CDDFBC6310}" type="sibTrans" cxnId="{753D44EB-733B-4CCB-BF29-25FE421F64C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A420A148-CD3A-4180-AF7A-590D94CB1CF3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3,58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79ADEC20-172C-4238-9319-240D26811FB2}" type="parTrans" cxnId="{EAABC2E1-BB71-43A3-94A2-BD87E87CF6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906CAEA3-8DCC-4A4A-9197-A36FBA54A00B}" type="sibTrans" cxnId="{EAABC2E1-BB71-43A3-94A2-BD87E87CF6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B4E9D314-CC87-45D8-AC1A-D37558C878D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2,62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243235BE-FDF5-4854-AA1B-A678BDA2D8B2}" type="parTrans" cxnId="{C4E54557-7872-465C-96ED-EB0451E8BD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3D8956F-E5AF-4AFB-88CA-6F876F28F876}" type="sibTrans" cxnId="{C4E54557-7872-465C-96ED-EB0451E8BD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D3AE978C-494B-41A3-B686-3D9FDCD47707}" type="pres">
      <dgm:prSet presAssocID="{3F3692B3-BCBF-46B2-BE36-9E9229C2EB6C}" presName="linearFlow" presStyleCnt="0">
        <dgm:presLayoutVars>
          <dgm:dir/>
          <dgm:resizeHandles val="exact"/>
        </dgm:presLayoutVars>
      </dgm:prSet>
      <dgm:spPr/>
    </dgm:pt>
    <dgm:pt modelId="{B502AAC8-F1B0-49FF-8154-51F1DE6A5FC1}" type="pres">
      <dgm:prSet presAssocID="{8704EEF8-31BC-483A-9DF1-F9DF3352D699}" presName="composite" presStyleCnt="0"/>
      <dgm:spPr/>
    </dgm:pt>
    <dgm:pt modelId="{E17B80E1-7BAB-4E41-A74B-EC1A9DBAD870}" type="pres">
      <dgm:prSet presAssocID="{8704EEF8-31BC-483A-9DF1-F9DF3352D699}" presName="imgShp" presStyleLbl="fgImgPlace1" presStyleIdx="0" presStyleCnt="5" custScaleX="43914" custScaleY="43913"/>
      <dgm:spPr>
        <a:solidFill>
          <a:srgbClr val="C00000"/>
        </a:solidFill>
        <a:ln>
          <a:solidFill>
            <a:srgbClr val="C00000"/>
          </a:solidFill>
        </a:ln>
      </dgm:spPr>
    </dgm:pt>
    <dgm:pt modelId="{CA317B56-0599-4F56-A0B7-415975366334}" type="pres">
      <dgm:prSet presAssocID="{8704EEF8-31BC-483A-9DF1-F9DF3352D699}" presName="txShp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41F1531-1F86-47AC-9682-8A98E07CB27E}" type="pres">
      <dgm:prSet presAssocID="{8FEDB42F-9C58-414E-AA76-060A2FB456FF}" presName="spacing" presStyleCnt="0"/>
      <dgm:spPr/>
    </dgm:pt>
    <dgm:pt modelId="{A5F20255-A99A-4859-9275-EC1E9396587C}" type="pres">
      <dgm:prSet presAssocID="{0B0EEEB7-3418-4075-80F0-08485E22010A}" presName="composite" presStyleCnt="0"/>
      <dgm:spPr/>
    </dgm:pt>
    <dgm:pt modelId="{185E2DE2-1D5B-4B4D-B945-DFDDF2C33608}" type="pres">
      <dgm:prSet presAssocID="{0B0EEEB7-3418-4075-80F0-08485E22010A}" presName="imgShp" presStyleLbl="fgImgPlace1" presStyleIdx="1" presStyleCnt="5" custScaleX="43914" custScaleY="43913"/>
      <dgm:spPr>
        <a:solidFill>
          <a:schemeClr val="tx2"/>
        </a:solidFill>
        <a:ln>
          <a:solidFill>
            <a:schemeClr val="tx2"/>
          </a:solidFill>
        </a:ln>
      </dgm:spPr>
    </dgm:pt>
    <dgm:pt modelId="{BD7E4BD3-B707-4DAE-862C-B2CCAE37C549}" type="pres">
      <dgm:prSet presAssocID="{0B0EEEB7-3418-4075-80F0-08485E22010A}" presName="txShp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3DB4B76-A7F4-44CC-980A-61F2EC094096}" type="pres">
      <dgm:prSet presAssocID="{0B83E4A4-B25B-4FB2-A90C-765A8A377CB6}" presName="spacing" presStyleCnt="0"/>
      <dgm:spPr/>
    </dgm:pt>
    <dgm:pt modelId="{6A9B6AAF-EB12-48E2-A5F4-9983EEF05B0C}" type="pres">
      <dgm:prSet presAssocID="{00575ACA-C387-4BB4-ADFD-1B2BFC94BEE9}" presName="composite" presStyleCnt="0"/>
      <dgm:spPr/>
    </dgm:pt>
    <dgm:pt modelId="{F13C8B11-2853-4A6E-A433-AAA58C84128B}" type="pres">
      <dgm:prSet presAssocID="{00575ACA-C387-4BB4-ADFD-1B2BFC94BEE9}" presName="imgShp" presStyleLbl="fgImgPlace1" presStyleIdx="2" presStyleCnt="5" custScaleX="43914" custScaleY="43913"/>
      <dgm:spPr>
        <a:solidFill>
          <a:srgbClr val="92D050"/>
        </a:solidFill>
        <a:ln>
          <a:solidFill>
            <a:srgbClr val="92D050"/>
          </a:solidFill>
        </a:ln>
      </dgm:spPr>
    </dgm:pt>
    <dgm:pt modelId="{CC97B532-372C-4341-9F51-4EDF589A5E16}" type="pres">
      <dgm:prSet presAssocID="{00575ACA-C387-4BB4-ADFD-1B2BFC94BEE9}" presName="txShp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C782933-305D-4A66-86EB-142BD8744A28}" type="pres">
      <dgm:prSet presAssocID="{5BD23F4A-F4D7-4701-8FFD-A4CDDFBC6310}" presName="spacing" presStyleCnt="0"/>
      <dgm:spPr/>
    </dgm:pt>
    <dgm:pt modelId="{16C816EF-B28F-4EAF-B312-D0043B8DBD1F}" type="pres">
      <dgm:prSet presAssocID="{B4E9D314-CC87-45D8-AC1A-D37558C878D9}" presName="composite" presStyleCnt="0"/>
      <dgm:spPr/>
    </dgm:pt>
    <dgm:pt modelId="{1406A248-9C69-41E6-8D85-0ED4F0938136}" type="pres">
      <dgm:prSet presAssocID="{B4E9D314-CC87-45D8-AC1A-D37558C878D9}" presName="imgShp" presStyleLbl="fgImgPlace1" presStyleIdx="3" presStyleCnt="5" custScaleX="43914" custScaleY="43913"/>
      <dgm:spPr>
        <a:solidFill>
          <a:schemeClr val="accent1">
            <a:lumMod val="60000"/>
            <a:lumOff val="40000"/>
          </a:schemeClr>
        </a:solidFill>
        <a:ln>
          <a:solidFill>
            <a:schemeClr val="accent1">
              <a:lumMod val="60000"/>
              <a:lumOff val="40000"/>
            </a:schemeClr>
          </a:solidFill>
        </a:ln>
      </dgm:spPr>
    </dgm:pt>
    <dgm:pt modelId="{94F11791-EE9D-458C-9C0D-8C4DF815BFCA}" type="pres">
      <dgm:prSet presAssocID="{B4E9D314-CC87-45D8-AC1A-D37558C878D9}" presName="txShp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C48A2A1-744E-4215-9C21-5D84FCA67219}" type="pres">
      <dgm:prSet presAssocID="{03D8956F-E5AF-4AFB-88CA-6F876F28F876}" presName="spacing" presStyleCnt="0"/>
      <dgm:spPr/>
    </dgm:pt>
    <dgm:pt modelId="{C664E10B-C7A1-4921-9D3A-2CABBD9A32A8}" type="pres">
      <dgm:prSet presAssocID="{A420A148-CD3A-4180-AF7A-590D94CB1CF3}" presName="composite" presStyleCnt="0"/>
      <dgm:spPr/>
    </dgm:pt>
    <dgm:pt modelId="{46B86910-D26B-4F95-9827-3ADC43AE18EE}" type="pres">
      <dgm:prSet presAssocID="{A420A148-CD3A-4180-AF7A-590D94CB1CF3}" presName="imgShp" presStyleLbl="fgImgPlace1" presStyleIdx="4" presStyleCnt="5" custScaleX="43914" custScaleY="43913"/>
      <dgm:spPr>
        <a:solidFill>
          <a:srgbClr val="7030A0"/>
        </a:solidFill>
        <a:ln>
          <a:solidFill>
            <a:srgbClr val="7030A0"/>
          </a:solidFill>
        </a:ln>
      </dgm:spPr>
    </dgm:pt>
    <dgm:pt modelId="{D0FD797F-4E73-4FC3-B01F-0D74CF9244CE}" type="pres">
      <dgm:prSet presAssocID="{A420A148-CD3A-4180-AF7A-590D94CB1CF3}" presName="txShp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5E8CD76-7E44-499D-831E-2AB186A8C858}" type="presOf" srcId="{0B0EEEB7-3418-4075-80F0-08485E22010A}" destId="{BD7E4BD3-B707-4DAE-862C-B2CCAE37C549}" srcOrd="0" destOrd="0" presId="urn:microsoft.com/office/officeart/2005/8/layout/vList3"/>
    <dgm:cxn modelId="{E906F70F-C713-4FA2-81E8-1ED52FCBC511}" type="presOf" srcId="{3F3692B3-BCBF-46B2-BE36-9E9229C2EB6C}" destId="{D3AE978C-494B-41A3-B686-3D9FDCD47707}" srcOrd="0" destOrd="0" presId="urn:microsoft.com/office/officeart/2005/8/layout/vList3"/>
    <dgm:cxn modelId="{B74BC716-D300-484F-96A3-CB3D112900B5}" type="presOf" srcId="{A420A148-CD3A-4180-AF7A-590D94CB1CF3}" destId="{D0FD797F-4E73-4FC3-B01F-0D74CF9244CE}" srcOrd="0" destOrd="0" presId="urn:microsoft.com/office/officeart/2005/8/layout/vList3"/>
    <dgm:cxn modelId="{753D44EB-733B-4CCB-BF29-25FE421F64CB}" srcId="{3F3692B3-BCBF-46B2-BE36-9E9229C2EB6C}" destId="{00575ACA-C387-4BB4-ADFD-1B2BFC94BEE9}" srcOrd="2" destOrd="0" parTransId="{2C2A25AA-EA06-4583-B533-98D7CC1C1062}" sibTransId="{5BD23F4A-F4D7-4701-8FFD-A4CDDFBC6310}"/>
    <dgm:cxn modelId="{5A95059D-51D6-4D3B-9253-BF88A0B01545}" srcId="{3F3692B3-BCBF-46B2-BE36-9E9229C2EB6C}" destId="{0B0EEEB7-3418-4075-80F0-08485E22010A}" srcOrd="1" destOrd="0" parTransId="{D6D65466-D3C7-4E8F-B3B9-C503976F9D61}" sibTransId="{0B83E4A4-B25B-4FB2-A90C-765A8A377CB6}"/>
    <dgm:cxn modelId="{0D95DE93-D19D-4BE7-B85B-3DE51E6BA96B}" srcId="{3F3692B3-BCBF-46B2-BE36-9E9229C2EB6C}" destId="{8704EEF8-31BC-483A-9DF1-F9DF3352D699}" srcOrd="0" destOrd="0" parTransId="{EC6E2AF8-9736-4271-B632-D1A777A5B047}" sibTransId="{8FEDB42F-9C58-414E-AA76-060A2FB456FF}"/>
    <dgm:cxn modelId="{EAABC2E1-BB71-43A3-94A2-BD87E87CF6D5}" srcId="{3F3692B3-BCBF-46B2-BE36-9E9229C2EB6C}" destId="{A420A148-CD3A-4180-AF7A-590D94CB1CF3}" srcOrd="4" destOrd="0" parTransId="{79ADEC20-172C-4238-9319-240D26811FB2}" sibTransId="{906CAEA3-8DCC-4A4A-9197-A36FBA54A00B}"/>
    <dgm:cxn modelId="{C4E54557-7872-465C-96ED-EB0451E8BDD5}" srcId="{3F3692B3-BCBF-46B2-BE36-9E9229C2EB6C}" destId="{B4E9D314-CC87-45D8-AC1A-D37558C878D9}" srcOrd="3" destOrd="0" parTransId="{243235BE-FDF5-4854-AA1B-A678BDA2D8B2}" sibTransId="{03D8956F-E5AF-4AFB-88CA-6F876F28F876}"/>
    <dgm:cxn modelId="{7965B6E6-752A-4991-89ED-D40D9370AE02}" type="presOf" srcId="{B4E9D314-CC87-45D8-AC1A-D37558C878D9}" destId="{94F11791-EE9D-458C-9C0D-8C4DF815BFCA}" srcOrd="0" destOrd="0" presId="urn:microsoft.com/office/officeart/2005/8/layout/vList3"/>
    <dgm:cxn modelId="{B48D3B7C-C320-4806-931A-0DB7A30A31E0}" type="presOf" srcId="{00575ACA-C387-4BB4-ADFD-1B2BFC94BEE9}" destId="{CC97B532-372C-4341-9F51-4EDF589A5E16}" srcOrd="0" destOrd="0" presId="urn:microsoft.com/office/officeart/2005/8/layout/vList3"/>
    <dgm:cxn modelId="{6E1B620D-C895-4884-A8E8-E2C657BBD181}" type="presOf" srcId="{8704EEF8-31BC-483A-9DF1-F9DF3352D699}" destId="{CA317B56-0599-4F56-A0B7-415975366334}" srcOrd="0" destOrd="0" presId="urn:microsoft.com/office/officeart/2005/8/layout/vList3"/>
    <dgm:cxn modelId="{ED2F167E-8CE9-4285-8274-378EA5C4CF14}" type="presParOf" srcId="{D3AE978C-494B-41A3-B686-3D9FDCD47707}" destId="{B502AAC8-F1B0-49FF-8154-51F1DE6A5FC1}" srcOrd="0" destOrd="0" presId="urn:microsoft.com/office/officeart/2005/8/layout/vList3"/>
    <dgm:cxn modelId="{11B47188-5683-464F-A72D-22E2F00EBD25}" type="presParOf" srcId="{B502AAC8-F1B0-49FF-8154-51F1DE6A5FC1}" destId="{E17B80E1-7BAB-4E41-A74B-EC1A9DBAD870}" srcOrd="0" destOrd="0" presId="urn:microsoft.com/office/officeart/2005/8/layout/vList3"/>
    <dgm:cxn modelId="{10CF35D6-B6A6-409E-AE90-526C4B968013}" type="presParOf" srcId="{B502AAC8-F1B0-49FF-8154-51F1DE6A5FC1}" destId="{CA317B56-0599-4F56-A0B7-415975366334}" srcOrd="1" destOrd="0" presId="urn:microsoft.com/office/officeart/2005/8/layout/vList3"/>
    <dgm:cxn modelId="{25AA6B95-03AB-405B-84A4-4E2160692E38}" type="presParOf" srcId="{D3AE978C-494B-41A3-B686-3D9FDCD47707}" destId="{D41F1531-1F86-47AC-9682-8A98E07CB27E}" srcOrd="1" destOrd="0" presId="urn:microsoft.com/office/officeart/2005/8/layout/vList3"/>
    <dgm:cxn modelId="{E9153DDA-2918-4537-8C3B-23958D96094B}" type="presParOf" srcId="{D3AE978C-494B-41A3-B686-3D9FDCD47707}" destId="{A5F20255-A99A-4859-9275-EC1E9396587C}" srcOrd="2" destOrd="0" presId="urn:microsoft.com/office/officeart/2005/8/layout/vList3"/>
    <dgm:cxn modelId="{99ADB927-7FEF-40A1-83FF-EAFE16400E68}" type="presParOf" srcId="{A5F20255-A99A-4859-9275-EC1E9396587C}" destId="{185E2DE2-1D5B-4B4D-B945-DFDDF2C33608}" srcOrd="0" destOrd="0" presId="urn:microsoft.com/office/officeart/2005/8/layout/vList3"/>
    <dgm:cxn modelId="{578612D1-F434-4272-A076-B14F178B646A}" type="presParOf" srcId="{A5F20255-A99A-4859-9275-EC1E9396587C}" destId="{BD7E4BD3-B707-4DAE-862C-B2CCAE37C549}" srcOrd="1" destOrd="0" presId="urn:microsoft.com/office/officeart/2005/8/layout/vList3"/>
    <dgm:cxn modelId="{955C8180-747D-4A36-A172-11FA8732C9AD}" type="presParOf" srcId="{D3AE978C-494B-41A3-B686-3D9FDCD47707}" destId="{13DB4B76-A7F4-44CC-980A-61F2EC094096}" srcOrd="3" destOrd="0" presId="urn:microsoft.com/office/officeart/2005/8/layout/vList3"/>
    <dgm:cxn modelId="{A9F1B72B-F6C7-4779-8FAF-021F68335E6F}" type="presParOf" srcId="{D3AE978C-494B-41A3-B686-3D9FDCD47707}" destId="{6A9B6AAF-EB12-48E2-A5F4-9983EEF05B0C}" srcOrd="4" destOrd="0" presId="urn:microsoft.com/office/officeart/2005/8/layout/vList3"/>
    <dgm:cxn modelId="{21975311-C357-4666-A06E-35581FA43562}" type="presParOf" srcId="{6A9B6AAF-EB12-48E2-A5F4-9983EEF05B0C}" destId="{F13C8B11-2853-4A6E-A433-AAA58C84128B}" srcOrd="0" destOrd="0" presId="urn:microsoft.com/office/officeart/2005/8/layout/vList3"/>
    <dgm:cxn modelId="{322F1FA7-F3E6-4A64-9DFC-343E890EC0B3}" type="presParOf" srcId="{6A9B6AAF-EB12-48E2-A5F4-9983EEF05B0C}" destId="{CC97B532-372C-4341-9F51-4EDF589A5E16}" srcOrd="1" destOrd="0" presId="urn:microsoft.com/office/officeart/2005/8/layout/vList3"/>
    <dgm:cxn modelId="{5760AECC-D873-4CCA-B66C-CC0916277D44}" type="presParOf" srcId="{D3AE978C-494B-41A3-B686-3D9FDCD47707}" destId="{3C782933-305D-4A66-86EB-142BD8744A28}" srcOrd="5" destOrd="0" presId="urn:microsoft.com/office/officeart/2005/8/layout/vList3"/>
    <dgm:cxn modelId="{02B6E330-C4BA-4906-B9F1-0F361CCD7879}" type="presParOf" srcId="{D3AE978C-494B-41A3-B686-3D9FDCD47707}" destId="{16C816EF-B28F-4EAF-B312-D0043B8DBD1F}" srcOrd="6" destOrd="0" presId="urn:microsoft.com/office/officeart/2005/8/layout/vList3"/>
    <dgm:cxn modelId="{2BCDD30A-E15F-4DD8-9286-9A1C34477DE8}" type="presParOf" srcId="{16C816EF-B28F-4EAF-B312-D0043B8DBD1F}" destId="{1406A248-9C69-41E6-8D85-0ED4F0938136}" srcOrd="0" destOrd="0" presId="urn:microsoft.com/office/officeart/2005/8/layout/vList3"/>
    <dgm:cxn modelId="{6653B212-1846-4F30-950A-545559C77EE4}" type="presParOf" srcId="{16C816EF-B28F-4EAF-B312-D0043B8DBD1F}" destId="{94F11791-EE9D-458C-9C0D-8C4DF815BFCA}" srcOrd="1" destOrd="0" presId="urn:microsoft.com/office/officeart/2005/8/layout/vList3"/>
    <dgm:cxn modelId="{FDD26FE8-E7AF-4043-B5EA-6AF88EC71997}" type="presParOf" srcId="{D3AE978C-494B-41A3-B686-3D9FDCD47707}" destId="{AC48A2A1-744E-4215-9C21-5D84FCA67219}" srcOrd="7" destOrd="0" presId="urn:microsoft.com/office/officeart/2005/8/layout/vList3"/>
    <dgm:cxn modelId="{2E5B0B9F-F6E3-41C3-A5E7-907B450D8E74}" type="presParOf" srcId="{D3AE978C-494B-41A3-B686-3D9FDCD47707}" destId="{C664E10B-C7A1-4921-9D3A-2CABBD9A32A8}" srcOrd="8" destOrd="0" presId="urn:microsoft.com/office/officeart/2005/8/layout/vList3"/>
    <dgm:cxn modelId="{766C8676-E8E3-49D4-B21A-6FFF43549C59}" type="presParOf" srcId="{C664E10B-C7A1-4921-9D3A-2CABBD9A32A8}" destId="{46B86910-D26B-4F95-9827-3ADC43AE18EE}" srcOrd="0" destOrd="0" presId="urn:microsoft.com/office/officeart/2005/8/layout/vList3"/>
    <dgm:cxn modelId="{001498C5-3B12-48FD-9D44-B4F33CD0398C}" type="presParOf" srcId="{C664E10B-C7A1-4921-9D3A-2CABBD9A32A8}" destId="{D0FD797F-4E73-4FC3-B01F-0D74CF9244CE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42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3F3692B3-BCBF-46B2-BE36-9E9229C2EB6C}" type="doc">
      <dgm:prSet loTypeId="urn:microsoft.com/office/officeart/2005/8/layout/vList3" loCatId="list" qsTypeId="urn:microsoft.com/office/officeart/2005/8/quickstyle/simple1" qsCatId="simple" csTypeId="urn:microsoft.com/office/officeart/2005/8/colors/colorful3" csCatId="colorful" phldr="1"/>
      <dgm:spPr/>
    </dgm:pt>
    <dgm:pt modelId="{8704EEF8-31BC-483A-9DF1-F9DF3352D69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kk-KZ" sz="800" b="1" dirty="0" smtClean="0">
              <a:ln>
                <a:noFill/>
              </a:ln>
              <a:solidFill>
                <a:schemeClr val="tx1"/>
              </a:solidFill>
            </a:rPr>
            <a:t>885,33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EC6E2AF8-9736-4271-B632-D1A777A5B047}" type="parTrans" cxnId="{0D95DE93-D19D-4BE7-B85B-3DE51E6BA96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8FEDB42F-9C58-414E-AA76-060A2FB456FF}" type="sibTrans" cxnId="{0D95DE93-D19D-4BE7-B85B-3DE51E6BA96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B0EEEB7-3418-4075-80F0-08485E22010A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kk-KZ" sz="800" b="1" dirty="0" smtClean="0">
              <a:ln>
                <a:noFill/>
              </a:ln>
              <a:solidFill>
                <a:schemeClr val="tx1"/>
              </a:solidFill>
            </a:rPr>
            <a:t>28,0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D6D65466-D3C7-4E8F-B3B9-C503976F9D61}" type="parTrans" cxnId="{5A95059D-51D6-4D3B-9253-BF88A0B0154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B83E4A4-B25B-4FB2-A90C-765A8A377CB6}" type="sibTrans" cxnId="{5A95059D-51D6-4D3B-9253-BF88A0B0154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0575ACA-C387-4BB4-ADFD-1B2BFC94BEE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21,48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2C2A25AA-EA06-4583-B533-98D7CC1C1062}" type="parTrans" cxnId="{753D44EB-733B-4CCB-BF29-25FE421F64C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5BD23F4A-F4D7-4701-8FFD-A4CDDFBC6310}" type="sibTrans" cxnId="{753D44EB-733B-4CCB-BF29-25FE421F64CB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A420A148-CD3A-4180-AF7A-590D94CB1CF3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3,71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79ADEC20-172C-4238-9319-240D26811FB2}" type="parTrans" cxnId="{EAABC2E1-BB71-43A3-94A2-BD87E87CF6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906CAEA3-8DCC-4A4A-9197-A36FBA54A00B}" type="sibTrans" cxnId="{EAABC2E1-BB71-43A3-94A2-BD87E87CF6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B4E9D314-CC87-45D8-AC1A-D37558C878D9}">
      <dgm:prSet phldrT="[Текст]"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800" b="1" dirty="0" smtClean="0">
              <a:ln>
                <a:noFill/>
              </a:ln>
              <a:solidFill>
                <a:schemeClr val="tx1"/>
              </a:solidFill>
            </a:rPr>
            <a:t>4,40</a:t>
          </a:r>
          <a:endParaRPr lang="ru-RU" sz="800" b="1" dirty="0">
            <a:ln>
              <a:noFill/>
            </a:ln>
            <a:solidFill>
              <a:schemeClr val="tx1"/>
            </a:solidFill>
          </a:endParaRPr>
        </a:p>
      </dgm:t>
    </dgm:pt>
    <dgm:pt modelId="{243235BE-FDF5-4854-AA1B-A678BDA2D8B2}" type="parTrans" cxnId="{C4E54557-7872-465C-96ED-EB0451E8BD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03D8956F-E5AF-4AFB-88CA-6F876F28F876}" type="sibTrans" cxnId="{C4E54557-7872-465C-96ED-EB0451E8BDD5}">
      <dgm:prSet/>
      <dgm:spPr/>
      <dgm:t>
        <a:bodyPr/>
        <a:lstStyle/>
        <a:p>
          <a:pPr>
            <a:lnSpc>
              <a:spcPct val="100000"/>
            </a:lnSpc>
          </a:pPr>
          <a:endParaRPr lang="ru-RU" sz="1100" b="1"/>
        </a:p>
      </dgm:t>
    </dgm:pt>
    <dgm:pt modelId="{D3AE978C-494B-41A3-B686-3D9FDCD47707}" type="pres">
      <dgm:prSet presAssocID="{3F3692B3-BCBF-46B2-BE36-9E9229C2EB6C}" presName="linearFlow" presStyleCnt="0">
        <dgm:presLayoutVars>
          <dgm:dir/>
          <dgm:resizeHandles val="exact"/>
        </dgm:presLayoutVars>
      </dgm:prSet>
      <dgm:spPr/>
    </dgm:pt>
    <dgm:pt modelId="{B502AAC8-F1B0-49FF-8154-51F1DE6A5FC1}" type="pres">
      <dgm:prSet presAssocID="{8704EEF8-31BC-483A-9DF1-F9DF3352D699}" presName="composite" presStyleCnt="0"/>
      <dgm:spPr/>
    </dgm:pt>
    <dgm:pt modelId="{E17B80E1-7BAB-4E41-A74B-EC1A9DBAD870}" type="pres">
      <dgm:prSet presAssocID="{8704EEF8-31BC-483A-9DF1-F9DF3352D699}" presName="imgShp" presStyleLbl="fgImgPlace1" presStyleIdx="0" presStyleCnt="5" custScaleX="43914" custScaleY="43913"/>
      <dgm:spPr>
        <a:solidFill>
          <a:srgbClr val="C00000"/>
        </a:solidFill>
        <a:ln>
          <a:solidFill>
            <a:srgbClr val="C00000"/>
          </a:solidFill>
        </a:ln>
      </dgm:spPr>
    </dgm:pt>
    <dgm:pt modelId="{CA317B56-0599-4F56-A0B7-415975366334}" type="pres">
      <dgm:prSet presAssocID="{8704EEF8-31BC-483A-9DF1-F9DF3352D699}" presName="txShp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41F1531-1F86-47AC-9682-8A98E07CB27E}" type="pres">
      <dgm:prSet presAssocID="{8FEDB42F-9C58-414E-AA76-060A2FB456FF}" presName="spacing" presStyleCnt="0"/>
      <dgm:spPr/>
    </dgm:pt>
    <dgm:pt modelId="{A5F20255-A99A-4859-9275-EC1E9396587C}" type="pres">
      <dgm:prSet presAssocID="{0B0EEEB7-3418-4075-80F0-08485E22010A}" presName="composite" presStyleCnt="0"/>
      <dgm:spPr/>
    </dgm:pt>
    <dgm:pt modelId="{185E2DE2-1D5B-4B4D-B945-DFDDF2C33608}" type="pres">
      <dgm:prSet presAssocID="{0B0EEEB7-3418-4075-80F0-08485E22010A}" presName="imgShp" presStyleLbl="fgImgPlace1" presStyleIdx="1" presStyleCnt="5" custScaleX="43914" custScaleY="43913"/>
      <dgm:spPr>
        <a:solidFill>
          <a:schemeClr val="tx2"/>
        </a:solidFill>
        <a:ln>
          <a:solidFill>
            <a:schemeClr val="tx2"/>
          </a:solidFill>
        </a:ln>
      </dgm:spPr>
    </dgm:pt>
    <dgm:pt modelId="{BD7E4BD3-B707-4DAE-862C-B2CCAE37C549}" type="pres">
      <dgm:prSet presAssocID="{0B0EEEB7-3418-4075-80F0-08485E22010A}" presName="txShp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3DB4B76-A7F4-44CC-980A-61F2EC094096}" type="pres">
      <dgm:prSet presAssocID="{0B83E4A4-B25B-4FB2-A90C-765A8A377CB6}" presName="spacing" presStyleCnt="0"/>
      <dgm:spPr/>
    </dgm:pt>
    <dgm:pt modelId="{6A9B6AAF-EB12-48E2-A5F4-9983EEF05B0C}" type="pres">
      <dgm:prSet presAssocID="{00575ACA-C387-4BB4-ADFD-1B2BFC94BEE9}" presName="composite" presStyleCnt="0"/>
      <dgm:spPr/>
    </dgm:pt>
    <dgm:pt modelId="{F13C8B11-2853-4A6E-A433-AAA58C84128B}" type="pres">
      <dgm:prSet presAssocID="{00575ACA-C387-4BB4-ADFD-1B2BFC94BEE9}" presName="imgShp" presStyleLbl="fgImgPlace1" presStyleIdx="2" presStyleCnt="5" custScaleX="43914" custScaleY="43913"/>
      <dgm:spPr>
        <a:solidFill>
          <a:srgbClr val="92D050"/>
        </a:solidFill>
        <a:ln>
          <a:solidFill>
            <a:srgbClr val="92D050"/>
          </a:solidFill>
        </a:ln>
      </dgm:spPr>
    </dgm:pt>
    <dgm:pt modelId="{CC97B532-372C-4341-9F51-4EDF589A5E16}" type="pres">
      <dgm:prSet presAssocID="{00575ACA-C387-4BB4-ADFD-1B2BFC94BEE9}" presName="txShp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C782933-305D-4A66-86EB-142BD8744A28}" type="pres">
      <dgm:prSet presAssocID="{5BD23F4A-F4D7-4701-8FFD-A4CDDFBC6310}" presName="spacing" presStyleCnt="0"/>
      <dgm:spPr/>
    </dgm:pt>
    <dgm:pt modelId="{16C816EF-B28F-4EAF-B312-D0043B8DBD1F}" type="pres">
      <dgm:prSet presAssocID="{B4E9D314-CC87-45D8-AC1A-D37558C878D9}" presName="composite" presStyleCnt="0"/>
      <dgm:spPr/>
    </dgm:pt>
    <dgm:pt modelId="{1406A248-9C69-41E6-8D85-0ED4F0938136}" type="pres">
      <dgm:prSet presAssocID="{B4E9D314-CC87-45D8-AC1A-D37558C878D9}" presName="imgShp" presStyleLbl="fgImgPlace1" presStyleIdx="3" presStyleCnt="5" custScaleX="43914" custScaleY="43913"/>
      <dgm:spPr>
        <a:solidFill>
          <a:schemeClr val="accent1">
            <a:lumMod val="60000"/>
            <a:lumOff val="40000"/>
          </a:schemeClr>
        </a:solidFill>
        <a:ln>
          <a:solidFill>
            <a:schemeClr val="accent1">
              <a:lumMod val="60000"/>
              <a:lumOff val="40000"/>
            </a:schemeClr>
          </a:solidFill>
        </a:ln>
      </dgm:spPr>
    </dgm:pt>
    <dgm:pt modelId="{94F11791-EE9D-458C-9C0D-8C4DF815BFCA}" type="pres">
      <dgm:prSet presAssocID="{B4E9D314-CC87-45D8-AC1A-D37558C878D9}" presName="txShp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C48A2A1-744E-4215-9C21-5D84FCA67219}" type="pres">
      <dgm:prSet presAssocID="{03D8956F-E5AF-4AFB-88CA-6F876F28F876}" presName="spacing" presStyleCnt="0"/>
      <dgm:spPr/>
    </dgm:pt>
    <dgm:pt modelId="{C664E10B-C7A1-4921-9D3A-2CABBD9A32A8}" type="pres">
      <dgm:prSet presAssocID="{A420A148-CD3A-4180-AF7A-590D94CB1CF3}" presName="composite" presStyleCnt="0"/>
      <dgm:spPr/>
    </dgm:pt>
    <dgm:pt modelId="{46B86910-D26B-4F95-9827-3ADC43AE18EE}" type="pres">
      <dgm:prSet presAssocID="{A420A148-CD3A-4180-AF7A-590D94CB1CF3}" presName="imgShp" presStyleLbl="fgImgPlace1" presStyleIdx="4" presStyleCnt="5" custScaleX="43914" custScaleY="43913"/>
      <dgm:spPr>
        <a:solidFill>
          <a:srgbClr val="7030A0"/>
        </a:solidFill>
        <a:ln>
          <a:solidFill>
            <a:srgbClr val="7030A0"/>
          </a:solidFill>
        </a:ln>
      </dgm:spPr>
    </dgm:pt>
    <dgm:pt modelId="{D0FD797F-4E73-4FC3-B01F-0D74CF9244CE}" type="pres">
      <dgm:prSet presAssocID="{A420A148-CD3A-4180-AF7A-590D94CB1CF3}" presName="txShp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A95059D-51D6-4D3B-9253-BF88A0B01545}" srcId="{3F3692B3-BCBF-46B2-BE36-9E9229C2EB6C}" destId="{0B0EEEB7-3418-4075-80F0-08485E22010A}" srcOrd="1" destOrd="0" parTransId="{D6D65466-D3C7-4E8F-B3B9-C503976F9D61}" sibTransId="{0B83E4A4-B25B-4FB2-A90C-765A8A377CB6}"/>
    <dgm:cxn modelId="{EAABC2E1-BB71-43A3-94A2-BD87E87CF6D5}" srcId="{3F3692B3-BCBF-46B2-BE36-9E9229C2EB6C}" destId="{A420A148-CD3A-4180-AF7A-590D94CB1CF3}" srcOrd="4" destOrd="0" parTransId="{79ADEC20-172C-4238-9319-240D26811FB2}" sibTransId="{906CAEA3-8DCC-4A4A-9197-A36FBA54A00B}"/>
    <dgm:cxn modelId="{0D95DE93-D19D-4BE7-B85B-3DE51E6BA96B}" srcId="{3F3692B3-BCBF-46B2-BE36-9E9229C2EB6C}" destId="{8704EEF8-31BC-483A-9DF1-F9DF3352D699}" srcOrd="0" destOrd="0" parTransId="{EC6E2AF8-9736-4271-B632-D1A777A5B047}" sibTransId="{8FEDB42F-9C58-414E-AA76-060A2FB456FF}"/>
    <dgm:cxn modelId="{11DA98C7-5DF2-42E5-9B2A-C57B5AC1C155}" type="presOf" srcId="{B4E9D314-CC87-45D8-AC1A-D37558C878D9}" destId="{94F11791-EE9D-458C-9C0D-8C4DF815BFCA}" srcOrd="0" destOrd="0" presId="urn:microsoft.com/office/officeart/2005/8/layout/vList3"/>
    <dgm:cxn modelId="{5BA393F3-C40B-4FAC-AEDF-9D06CBF2EAC6}" type="presOf" srcId="{8704EEF8-31BC-483A-9DF1-F9DF3352D699}" destId="{CA317B56-0599-4F56-A0B7-415975366334}" srcOrd="0" destOrd="0" presId="urn:microsoft.com/office/officeart/2005/8/layout/vList3"/>
    <dgm:cxn modelId="{52C5B3E6-85BF-4162-BD8D-08A5BFD7AEAE}" type="presOf" srcId="{0B0EEEB7-3418-4075-80F0-08485E22010A}" destId="{BD7E4BD3-B707-4DAE-862C-B2CCAE37C549}" srcOrd="0" destOrd="0" presId="urn:microsoft.com/office/officeart/2005/8/layout/vList3"/>
    <dgm:cxn modelId="{662C73B1-2502-4161-9D31-59763AD615CF}" type="presOf" srcId="{3F3692B3-BCBF-46B2-BE36-9E9229C2EB6C}" destId="{D3AE978C-494B-41A3-B686-3D9FDCD47707}" srcOrd="0" destOrd="0" presId="urn:microsoft.com/office/officeart/2005/8/layout/vList3"/>
    <dgm:cxn modelId="{753D44EB-733B-4CCB-BF29-25FE421F64CB}" srcId="{3F3692B3-BCBF-46B2-BE36-9E9229C2EB6C}" destId="{00575ACA-C387-4BB4-ADFD-1B2BFC94BEE9}" srcOrd="2" destOrd="0" parTransId="{2C2A25AA-EA06-4583-B533-98D7CC1C1062}" sibTransId="{5BD23F4A-F4D7-4701-8FFD-A4CDDFBC6310}"/>
    <dgm:cxn modelId="{C4E54557-7872-465C-96ED-EB0451E8BDD5}" srcId="{3F3692B3-BCBF-46B2-BE36-9E9229C2EB6C}" destId="{B4E9D314-CC87-45D8-AC1A-D37558C878D9}" srcOrd="3" destOrd="0" parTransId="{243235BE-FDF5-4854-AA1B-A678BDA2D8B2}" sibTransId="{03D8956F-E5AF-4AFB-88CA-6F876F28F876}"/>
    <dgm:cxn modelId="{D276FCA2-6BC6-4208-BA2B-E64C6A33825B}" type="presOf" srcId="{00575ACA-C387-4BB4-ADFD-1B2BFC94BEE9}" destId="{CC97B532-372C-4341-9F51-4EDF589A5E16}" srcOrd="0" destOrd="0" presId="urn:microsoft.com/office/officeart/2005/8/layout/vList3"/>
    <dgm:cxn modelId="{E02CAAFF-64E2-4E79-9192-CADBBB403714}" type="presOf" srcId="{A420A148-CD3A-4180-AF7A-590D94CB1CF3}" destId="{D0FD797F-4E73-4FC3-B01F-0D74CF9244CE}" srcOrd="0" destOrd="0" presId="urn:microsoft.com/office/officeart/2005/8/layout/vList3"/>
    <dgm:cxn modelId="{D30B03DC-7564-47C6-80CE-E7D206CB3EFA}" type="presParOf" srcId="{D3AE978C-494B-41A3-B686-3D9FDCD47707}" destId="{B502AAC8-F1B0-49FF-8154-51F1DE6A5FC1}" srcOrd="0" destOrd="0" presId="urn:microsoft.com/office/officeart/2005/8/layout/vList3"/>
    <dgm:cxn modelId="{1A3B3DF1-05AD-49C7-BD87-417440AF9A3E}" type="presParOf" srcId="{B502AAC8-F1B0-49FF-8154-51F1DE6A5FC1}" destId="{E17B80E1-7BAB-4E41-A74B-EC1A9DBAD870}" srcOrd="0" destOrd="0" presId="urn:microsoft.com/office/officeart/2005/8/layout/vList3"/>
    <dgm:cxn modelId="{F7448DD9-7F9B-4726-AD98-E11CDA65052C}" type="presParOf" srcId="{B502AAC8-F1B0-49FF-8154-51F1DE6A5FC1}" destId="{CA317B56-0599-4F56-A0B7-415975366334}" srcOrd="1" destOrd="0" presId="urn:microsoft.com/office/officeart/2005/8/layout/vList3"/>
    <dgm:cxn modelId="{C617461F-25E1-4D1A-8020-09ED9C96E94E}" type="presParOf" srcId="{D3AE978C-494B-41A3-B686-3D9FDCD47707}" destId="{D41F1531-1F86-47AC-9682-8A98E07CB27E}" srcOrd="1" destOrd="0" presId="urn:microsoft.com/office/officeart/2005/8/layout/vList3"/>
    <dgm:cxn modelId="{DCE2F3B2-4B58-4268-8E5E-89BFCB13F174}" type="presParOf" srcId="{D3AE978C-494B-41A3-B686-3D9FDCD47707}" destId="{A5F20255-A99A-4859-9275-EC1E9396587C}" srcOrd="2" destOrd="0" presId="urn:microsoft.com/office/officeart/2005/8/layout/vList3"/>
    <dgm:cxn modelId="{17B8BEA5-7417-4B66-85BA-0690E85878C8}" type="presParOf" srcId="{A5F20255-A99A-4859-9275-EC1E9396587C}" destId="{185E2DE2-1D5B-4B4D-B945-DFDDF2C33608}" srcOrd="0" destOrd="0" presId="urn:microsoft.com/office/officeart/2005/8/layout/vList3"/>
    <dgm:cxn modelId="{47D0EB94-4D70-414A-BBB7-2DC15CED9FA0}" type="presParOf" srcId="{A5F20255-A99A-4859-9275-EC1E9396587C}" destId="{BD7E4BD3-B707-4DAE-862C-B2CCAE37C549}" srcOrd="1" destOrd="0" presId="urn:microsoft.com/office/officeart/2005/8/layout/vList3"/>
    <dgm:cxn modelId="{20CAEF66-BA80-459C-BED0-88316E3FF636}" type="presParOf" srcId="{D3AE978C-494B-41A3-B686-3D9FDCD47707}" destId="{13DB4B76-A7F4-44CC-980A-61F2EC094096}" srcOrd="3" destOrd="0" presId="urn:microsoft.com/office/officeart/2005/8/layout/vList3"/>
    <dgm:cxn modelId="{F6EC8E35-4774-4853-BF96-B7C77613DD56}" type="presParOf" srcId="{D3AE978C-494B-41A3-B686-3D9FDCD47707}" destId="{6A9B6AAF-EB12-48E2-A5F4-9983EEF05B0C}" srcOrd="4" destOrd="0" presId="urn:microsoft.com/office/officeart/2005/8/layout/vList3"/>
    <dgm:cxn modelId="{094AC175-B5AC-4162-AC59-AFEBFDB659E7}" type="presParOf" srcId="{6A9B6AAF-EB12-48E2-A5F4-9983EEF05B0C}" destId="{F13C8B11-2853-4A6E-A433-AAA58C84128B}" srcOrd="0" destOrd="0" presId="urn:microsoft.com/office/officeart/2005/8/layout/vList3"/>
    <dgm:cxn modelId="{BB89B2E4-6F1E-4D31-83BA-AD715985C586}" type="presParOf" srcId="{6A9B6AAF-EB12-48E2-A5F4-9983EEF05B0C}" destId="{CC97B532-372C-4341-9F51-4EDF589A5E16}" srcOrd="1" destOrd="0" presId="urn:microsoft.com/office/officeart/2005/8/layout/vList3"/>
    <dgm:cxn modelId="{6FDD9C4B-8A68-4CB9-B35D-EEC6D1E01F28}" type="presParOf" srcId="{D3AE978C-494B-41A3-B686-3D9FDCD47707}" destId="{3C782933-305D-4A66-86EB-142BD8744A28}" srcOrd="5" destOrd="0" presId="urn:microsoft.com/office/officeart/2005/8/layout/vList3"/>
    <dgm:cxn modelId="{F0AF7E32-EE92-46F6-B446-7CC4DBEDD788}" type="presParOf" srcId="{D3AE978C-494B-41A3-B686-3D9FDCD47707}" destId="{16C816EF-B28F-4EAF-B312-D0043B8DBD1F}" srcOrd="6" destOrd="0" presId="urn:microsoft.com/office/officeart/2005/8/layout/vList3"/>
    <dgm:cxn modelId="{7226A4B5-EDF7-40C7-BDC6-A4A32BD4FDB1}" type="presParOf" srcId="{16C816EF-B28F-4EAF-B312-D0043B8DBD1F}" destId="{1406A248-9C69-41E6-8D85-0ED4F0938136}" srcOrd="0" destOrd="0" presId="urn:microsoft.com/office/officeart/2005/8/layout/vList3"/>
    <dgm:cxn modelId="{DE53C80D-4504-46FD-96DF-6E2625E7DB15}" type="presParOf" srcId="{16C816EF-B28F-4EAF-B312-D0043B8DBD1F}" destId="{94F11791-EE9D-458C-9C0D-8C4DF815BFCA}" srcOrd="1" destOrd="0" presId="urn:microsoft.com/office/officeart/2005/8/layout/vList3"/>
    <dgm:cxn modelId="{AFE0B110-3B8B-4592-ABD1-8609E8B135CC}" type="presParOf" srcId="{D3AE978C-494B-41A3-B686-3D9FDCD47707}" destId="{AC48A2A1-744E-4215-9C21-5D84FCA67219}" srcOrd="7" destOrd="0" presId="urn:microsoft.com/office/officeart/2005/8/layout/vList3"/>
    <dgm:cxn modelId="{CA151808-9FEF-4381-95B7-11E6DAFDDAF1}" type="presParOf" srcId="{D3AE978C-494B-41A3-B686-3D9FDCD47707}" destId="{C664E10B-C7A1-4921-9D3A-2CABBD9A32A8}" srcOrd="8" destOrd="0" presId="urn:microsoft.com/office/officeart/2005/8/layout/vList3"/>
    <dgm:cxn modelId="{4018D729-9198-47E8-B5A9-CCD3A3632785}" type="presParOf" srcId="{C664E10B-C7A1-4921-9D3A-2CABBD9A32A8}" destId="{46B86910-D26B-4F95-9827-3ADC43AE18EE}" srcOrd="0" destOrd="0" presId="urn:microsoft.com/office/officeart/2005/8/layout/vList3"/>
    <dgm:cxn modelId="{97F6EA21-B3FF-4E84-B051-3B9636E096D5}" type="presParOf" srcId="{C664E10B-C7A1-4921-9D3A-2CABBD9A32A8}" destId="{D0FD797F-4E73-4FC3-B01F-0D74CF9244CE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4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317B56-0599-4F56-A0B7-415975366334}">
      <dsp:nvSpPr>
        <dsp:cNvPr id="0" name=""/>
        <dsp:cNvSpPr/>
      </dsp:nvSpPr>
      <dsp:spPr>
        <a:xfrm rot="10800000">
          <a:off x="360309" y="281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1917,89 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281"/>
        <a:ext cx="1364695" cy="95916"/>
      </dsp:txXfrm>
    </dsp:sp>
    <dsp:sp modelId="{E17B80E1-7BAB-4E41-A74B-EC1A9DBAD870}">
      <dsp:nvSpPr>
        <dsp:cNvPr id="0" name=""/>
        <dsp:cNvSpPr/>
      </dsp:nvSpPr>
      <dsp:spPr>
        <a:xfrm>
          <a:off x="339248" y="27179"/>
          <a:ext cx="42120" cy="42119"/>
        </a:xfrm>
        <a:prstGeom prst="ellipse">
          <a:avLst/>
        </a:prstGeom>
        <a:solidFill>
          <a:srgbClr val="C00000"/>
        </a:solidFill>
        <a:ln w="25400" cap="flat" cmpd="sng" algn="ctr">
          <a:solidFill>
            <a:srgbClr val="C00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D7E4BD3-B707-4DAE-862C-B2CCAE37C549}">
      <dsp:nvSpPr>
        <dsp:cNvPr id="0" name=""/>
        <dsp:cNvSpPr/>
      </dsp:nvSpPr>
      <dsp:spPr>
        <a:xfrm rot="10800000">
          <a:off x="360309" y="120177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45,49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120177"/>
        <a:ext cx="1364695" cy="95916"/>
      </dsp:txXfrm>
    </dsp:sp>
    <dsp:sp modelId="{185E2DE2-1D5B-4B4D-B945-DFDDF2C33608}">
      <dsp:nvSpPr>
        <dsp:cNvPr id="0" name=""/>
        <dsp:cNvSpPr/>
      </dsp:nvSpPr>
      <dsp:spPr>
        <a:xfrm>
          <a:off x="339248" y="147075"/>
          <a:ext cx="42120" cy="42119"/>
        </a:xfrm>
        <a:prstGeom prst="ellipse">
          <a:avLst/>
        </a:prstGeom>
        <a:solidFill>
          <a:schemeClr val="tx2"/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C97B532-372C-4341-9F51-4EDF589A5E16}">
      <dsp:nvSpPr>
        <dsp:cNvPr id="0" name=""/>
        <dsp:cNvSpPr/>
      </dsp:nvSpPr>
      <dsp:spPr>
        <a:xfrm rot="10800000">
          <a:off x="396692" y="253172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27,88 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420671" y="253172"/>
        <a:ext cx="1364695" cy="95916"/>
      </dsp:txXfrm>
    </dsp:sp>
    <dsp:sp modelId="{F13C8B11-2853-4A6E-A433-AAA58C84128B}">
      <dsp:nvSpPr>
        <dsp:cNvPr id="0" name=""/>
        <dsp:cNvSpPr/>
      </dsp:nvSpPr>
      <dsp:spPr>
        <a:xfrm>
          <a:off x="339248" y="266972"/>
          <a:ext cx="42120" cy="42119"/>
        </a:xfrm>
        <a:prstGeom prst="ellipse">
          <a:avLst/>
        </a:prstGeom>
        <a:solidFill>
          <a:srgbClr val="92D050"/>
        </a:solidFill>
        <a:ln w="25400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4F11791-EE9D-458C-9C0D-8C4DF815BFCA}">
      <dsp:nvSpPr>
        <dsp:cNvPr id="0" name=""/>
        <dsp:cNvSpPr/>
      </dsp:nvSpPr>
      <dsp:spPr>
        <a:xfrm rot="10800000">
          <a:off x="360309" y="359969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5,59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359969"/>
        <a:ext cx="1364695" cy="95916"/>
      </dsp:txXfrm>
    </dsp:sp>
    <dsp:sp modelId="{1406A248-9C69-41E6-8D85-0ED4F0938136}">
      <dsp:nvSpPr>
        <dsp:cNvPr id="0" name=""/>
        <dsp:cNvSpPr/>
      </dsp:nvSpPr>
      <dsp:spPr>
        <a:xfrm>
          <a:off x="339248" y="386868"/>
          <a:ext cx="42120" cy="42119"/>
        </a:xfrm>
        <a:prstGeom prst="ellipse">
          <a:avLst/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accent1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0FD797F-4E73-4FC3-B01F-0D74CF9244CE}">
      <dsp:nvSpPr>
        <dsp:cNvPr id="0" name=""/>
        <dsp:cNvSpPr/>
      </dsp:nvSpPr>
      <dsp:spPr>
        <a:xfrm rot="10800000">
          <a:off x="360309" y="479865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5,36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479865"/>
        <a:ext cx="1364695" cy="95916"/>
      </dsp:txXfrm>
    </dsp:sp>
    <dsp:sp modelId="{46B86910-D26B-4F95-9827-3ADC43AE18EE}">
      <dsp:nvSpPr>
        <dsp:cNvPr id="0" name=""/>
        <dsp:cNvSpPr/>
      </dsp:nvSpPr>
      <dsp:spPr>
        <a:xfrm>
          <a:off x="339248" y="506764"/>
          <a:ext cx="42120" cy="42119"/>
        </a:xfrm>
        <a:prstGeom prst="ellipse">
          <a:avLst/>
        </a:prstGeom>
        <a:solidFill>
          <a:srgbClr val="7030A0"/>
        </a:solidFill>
        <a:ln w="25400" cap="flat" cmpd="sng" algn="ctr">
          <a:solidFill>
            <a:srgbClr val="7030A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317B56-0599-4F56-A0B7-415975366334}">
      <dsp:nvSpPr>
        <dsp:cNvPr id="0" name=""/>
        <dsp:cNvSpPr/>
      </dsp:nvSpPr>
      <dsp:spPr>
        <a:xfrm rot="10800000">
          <a:off x="362168" y="330"/>
          <a:ext cx="1388674" cy="112851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765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934,89 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90381" y="330"/>
        <a:ext cx="1360461" cy="112851"/>
      </dsp:txXfrm>
    </dsp:sp>
    <dsp:sp modelId="{E17B80E1-7BAB-4E41-A74B-EC1A9DBAD870}">
      <dsp:nvSpPr>
        <dsp:cNvPr id="0" name=""/>
        <dsp:cNvSpPr/>
      </dsp:nvSpPr>
      <dsp:spPr>
        <a:xfrm>
          <a:off x="337389" y="31978"/>
          <a:ext cx="49557" cy="49556"/>
        </a:xfrm>
        <a:prstGeom prst="ellipse">
          <a:avLst/>
        </a:prstGeom>
        <a:solidFill>
          <a:srgbClr val="C00000"/>
        </a:solidFill>
        <a:ln w="25400" cap="flat" cmpd="sng" algn="ctr">
          <a:solidFill>
            <a:srgbClr val="C00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D7E4BD3-B707-4DAE-862C-B2CCAE37C549}">
      <dsp:nvSpPr>
        <dsp:cNvPr id="0" name=""/>
        <dsp:cNvSpPr/>
      </dsp:nvSpPr>
      <dsp:spPr>
        <a:xfrm rot="10800000">
          <a:off x="362168" y="141395"/>
          <a:ext cx="1388674" cy="112851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765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26,48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90381" y="141395"/>
        <a:ext cx="1360461" cy="112851"/>
      </dsp:txXfrm>
    </dsp:sp>
    <dsp:sp modelId="{185E2DE2-1D5B-4B4D-B945-DFDDF2C33608}">
      <dsp:nvSpPr>
        <dsp:cNvPr id="0" name=""/>
        <dsp:cNvSpPr/>
      </dsp:nvSpPr>
      <dsp:spPr>
        <a:xfrm>
          <a:off x="337389" y="173043"/>
          <a:ext cx="49557" cy="49556"/>
        </a:xfrm>
        <a:prstGeom prst="ellipse">
          <a:avLst/>
        </a:prstGeom>
        <a:solidFill>
          <a:schemeClr val="tx2"/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C97B532-372C-4341-9F51-4EDF589A5E16}">
      <dsp:nvSpPr>
        <dsp:cNvPr id="0" name=""/>
        <dsp:cNvSpPr/>
      </dsp:nvSpPr>
      <dsp:spPr>
        <a:xfrm rot="10800000">
          <a:off x="362168" y="282460"/>
          <a:ext cx="1388674" cy="112851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765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11,77 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90381" y="282460"/>
        <a:ext cx="1360461" cy="112851"/>
      </dsp:txXfrm>
    </dsp:sp>
    <dsp:sp modelId="{F13C8B11-2853-4A6E-A433-AAA58C84128B}">
      <dsp:nvSpPr>
        <dsp:cNvPr id="0" name=""/>
        <dsp:cNvSpPr/>
      </dsp:nvSpPr>
      <dsp:spPr>
        <a:xfrm>
          <a:off x="337389" y="314108"/>
          <a:ext cx="49557" cy="49556"/>
        </a:xfrm>
        <a:prstGeom prst="ellipse">
          <a:avLst/>
        </a:prstGeom>
        <a:solidFill>
          <a:srgbClr val="92D050"/>
        </a:solidFill>
        <a:ln w="25400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4F11791-EE9D-458C-9C0D-8C4DF815BFCA}">
      <dsp:nvSpPr>
        <dsp:cNvPr id="0" name=""/>
        <dsp:cNvSpPr/>
      </dsp:nvSpPr>
      <dsp:spPr>
        <a:xfrm rot="10800000">
          <a:off x="362168" y="423525"/>
          <a:ext cx="1388674" cy="112851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765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4,49 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90381" y="423525"/>
        <a:ext cx="1360461" cy="112851"/>
      </dsp:txXfrm>
    </dsp:sp>
    <dsp:sp modelId="{1406A248-9C69-41E6-8D85-0ED4F0938136}">
      <dsp:nvSpPr>
        <dsp:cNvPr id="0" name=""/>
        <dsp:cNvSpPr/>
      </dsp:nvSpPr>
      <dsp:spPr>
        <a:xfrm>
          <a:off x="337389" y="455172"/>
          <a:ext cx="49557" cy="49556"/>
        </a:xfrm>
        <a:prstGeom prst="ellipse">
          <a:avLst/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accent1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0FD797F-4E73-4FC3-B01F-0D74CF9244CE}">
      <dsp:nvSpPr>
        <dsp:cNvPr id="0" name=""/>
        <dsp:cNvSpPr/>
      </dsp:nvSpPr>
      <dsp:spPr>
        <a:xfrm rot="10800000">
          <a:off x="362168" y="564590"/>
          <a:ext cx="1388674" cy="112851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765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4,72 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90381" y="564590"/>
        <a:ext cx="1360461" cy="112851"/>
      </dsp:txXfrm>
    </dsp:sp>
    <dsp:sp modelId="{46B86910-D26B-4F95-9827-3ADC43AE18EE}">
      <dsp:nvSpPr>
        <dsp:cNvPr id="0" name=""/>
        <dsp:cNvSpPr/>
      </dsp:nvSpPr>
      <dsp:spPr>
        <a:xfrm>
          <a:off x="337389" y="596237"/>
          <a:ext cx="49557" cy="49556"/>
        </a:xfrm>
        <a:prstGeom prst="ellipse">
          <a:avLst/>
        </a:prstGeom>
        <a:solidFill>
          <a:srgbClr val="7030A0"/>
        </a:solidFill>
        <a:ln w="25400" cap="flat" cmpd="sng" algn="ctr">
          <a:solidFill>
            <a:srgbClr val="7030A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317B56-0599-4F56-A0B7-415975366334}">
      <dsp:nvSpPr>
        <dsp:cNvPr id="0" name=""/>
        <dsp:cNvSpPr/>
      </dsp:nvSpPr>
      <dsp:spPr>
        <a:xfrm rot="10800000">
          <a:off x="360309" y="281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3339,13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281"/>
        <a:ext cx="1364695" cy="95916"/>
      </dsp:txXfrm>
    </dsp:sp>
    <dsp:sp modelId="{E17B80E1-7BAB-4E41-A74B-EC1A9DBAD870}">
      <dsp:nvSpPr>
        <dsp:cNvPr id="0" name=""/>
        <dsp:cNvSpPr/>
      </dsp:nvSpPr>
      <dsp:spPr>
        <a:xfrm>
          <a:off x="339248" y="27179"/>
          <a:ext cx="42120" cy="42119"/>
        </a:xfrm>
        <a:prstGeom prst="ellipse">
          <a:avLst/>
        </a:prstGeom>
        <a:solidFill>
          <a:srgbClr val="C00000"/>
        </a:solidFill>
        <a:ln w="25400" cap="flat" cmpd="sng" algn="ctr">
          <a:solidFill>
            <a:srgbClr val="C00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D7E4BD3-B707-4DAE-862C-B2CCAE37C549}">
      <dsp:nvSpPr>
        <dsp:cNvPr id="0" name=""/>
        <dsp:cNvSpPr/>
      </dsp:nvSpPr>
      <dsp:spPr>
        <a:xfrm rot="10800000">
          <a:off x="360309" y="120177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19,36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120177"/>
        <a:ext cx="1364695" cy="95916"/>
      </dsp:txXfrm>
    </dsp:sp>
    <dsp:sp modelId="{185E2DE2-1D5B-4B4D-B945-DFDDF2C33608}">
      <dsp:nvSpPr>
        <dsp:cNvPr id="0" name=""/>
        <dsp:cNvSpPr/>
      </dsp:nvSpPr>
      <dsp:spPr>
        <a:xfrm>
          <a:off x="339248" y="147075"/>
          <a:ext cx="42120" cy="42119"/>
        </a:xfrm>
        <a:prstGeom prst="ellipse">
          <a:avLst/>
        </a:prstGeom>
        <a:solidFill>
          <a:schemeClr val="tx2"/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C97B532-372C-4341-9F51-4EDF589A5E16}">
      <dsp:nvSpPr>
        <dsp:cNvPr id="0" name=""/>
        <dsp:cNvSpPr/>
      </dsp:nvSpPr>
      <dsp:spPr>
        <a:xfrm rot="10800000">
          <a:off x="360309" y="240073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4,23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240073"/>
        <a:ext cx="1364695" cy="95916"/>
      </dsp:txXfrm>
    </dsp:sp>
    <dsp:sp modelId="{F13C8B11-2853-4A6E-A433-AAA58C84128B}">
      <dsp:nvSpPr>
        <dsp:cNvPr id="0" name=""/>
        <dsp:cNvSpPr/>
      </dsp:nvSpPr>
      <dsp:spPr>
        <a:xfrm>
          <a:off x="339248" y="266972"/>
          <a:ext cx="42120" cy="42119"/>
        </a:xfrm>
        <a:prstGeom prst="ellipse">
          <a:avLst/>
        </a:prstGeom>
        <a:solidFill>
          <a:srgbClr val="92D050"/>
        </a:solidFill>
        <a:ln w="25400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4F11791-EE9D-458C-9C0D-8C4DF815BFCA}">
      <dsp:nvSpPr>
        <dsp:cNvPr id="0" name=""/>
        <dsp:cNvSpPr/>
      </dsp:nvSpPr>
      <dsp:spPr>
        <a:xfrm rot="10800000">
          <a:off x="360309" y="359969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3,74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359969"/>
        <a:ext cx="1364695" cy="95916"/>
      </dsp:txXfrm>
    </dsp:sp>
    <dsp:sp modelId="{1406A248-9C69-41E6-8D85-0ED4F0938136}">
      <dsp:nvSpPr>
        <dsp:cNvPr id="0" name=""/>
        <dsp:cNvSpPr/>
      </dsp:nvSpPr>
      <dsp:spPr>
        <a:xfrm>
          <a:off x="339248" y="386868"/>
          <a:ext cx="42120" cy="42119"/>
        </a:xfrm>
        <a:prstGeom prst="ellipse">
          <a:avLst/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accent1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0FD797F-4E73-4FC3-B01F-0D74CF9244CE}">
      <dsp:nvSpPr>
        <dsp:cNvPr id="0" name=""/>
        <dsp:cNvSpPr/>
      </dsp:nvSpPr>
      <dsp:spPr>
        <a:xfrm rot="10800000">
          <a:off x="360309" y="479865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3,0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479865"/>
        <a:ext cx="1364695" cy="95916"/>
      </dsp:txXfrm>
    </dsp:sp>
    <dsp:sp modelId="{46B86910-D26B-4F95-9827-3ADC43AE18EE}">
      <dsp:nvSpPr>
        <dsp:cNvPr id="0" name=""/>
        <dsp:cNvSpPr/>
      </dsp:nvSpPr>
      <dsp:spPr>
        <a:xfrm>
          <a:off x="339248" y="506764"/>
          <a:ext cx="42120" cy="42119"/>
        </a:xfrm>
        <a:prstGeom prst="ellipse">
          <a:avLst/>
        </a:prstGeom>
        <a:solidFill>
          <a:srgbClr val="7030A0"/>
        </a:solidFill>
        <a:ln w="25400" cap="flat" cmpd="sng" algn="ctr">
          <a:solidFill>
            <a:srgbClr val="7030A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317B56-0599-4F56-A0B7-415975366334}">
      <dsp:nvSpPr>
        <dsp:cNvPr id="0" name=""/>
        <dsp:cNvSpPr/>
      </dsp:nvSpPr>
      <dsp:spPr>
        <a:xfrm rot="10800000">
          <a:off x="360309" y="281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2467,11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281"/>
        <a:ext cx="1364695" cy="95916"/>
      </dsp:txXfrm>
    </dsp:sp>
    <dsp:sp modelId="{E17B80E1-7BAB-4E41-A74B-EC1A9DBAD870}">
      <dsp:nvSpPr>
        <dsp:cNvPr id="0" name=""/>
        <dsp:cNvSpPr/>
      </dsp:nvSpPr>
      <dsp:spPr>
        <a:xfrm>
          <a:off x="339248" y="27179"/>
          <a:ext cx="42120" cy="42119"/>
        </a:xfrm>
        <a:prstGeom prst="ellipse">
          <a:avLst/>
        </a:prstGeom>
        <a:solidFill>
          <a:srgbClr val="C00000"/>
        </a:solidFill>
        <a:ln w="25400" cap="flat" cmpd="sng" algn="ctr">
          <a:solidFill>
            <a:srgbClr val="C00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D7E4BD3-B707-4DAE-862C-B2CCAE37C549}">
      <dsp:nvSpPr>
        <dsp:cNvPr id="0" name=""/>
        <dsp:cNvSpPr/>
      </dsp:nvSpPr>
      <dsp:spPr>
        <a:xfrm rot="10800000">
          <a:off x="340548" y="122060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25,0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64527" y="122060"/>
        <a:ext cx="1364695" cy="95916"/>
      </dsp:txXfrm>
    </dsp:sp>
    <dsp:sp modelId="{185E2DE2-1D5B-4B4D-B945-DFDDF2C33608}">
      <dsp:nvSpPr>
        <dsp:cNvPr id="0" name=""/>
        <dsp:cNvSpPr/>
      </dsp:nvSpPr>
      <dsp:spPr>
        <a:xfrm>
          <a:off x="339248" y="147075"/>
          <a:ext cx="42120" cy="42119"/>
        </a:xfrm>
        <a:prstGeom prst="ellipse">
          <a:avLst/>
        </a:prstGeom>
        <a:solidFill>
          <a:schemeClr val="tx2"/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C97B532-372C-4341-9F51-4EDF589A5E16}">
      <dsp:nvSpPr>
        <dsp:cNvPr id="0" name=""/>
        <dsp:cNvSpPr/>
      </dsp:nvSpPr>
      <dsp:spPr>
        <a:xfrm rot="10800000">
          <a:off x="360309" y="240073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19,84 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240073"/>
        <a:ext cx="1364695" cy="95916"/>
      </dsp:txXfrm>
    </dsp:sp>
    <dsp:sp modelId="{F13C8B11-2853-4A6E-A433-AAA58C84128B}">
      <dsp:nvSpPr>
        <dsp:cNvPr id="0" name=""/>
        <dsp:cNvSpPr/>
      </dsp:nvSpPr>
      <dsp:spPr>
        <a:xfrm>
          <a:off x="339248" y="266972"/>
          <a:ext cx="42120" cy="42119"/>
        </a:xfrm>
        <a:prstGeom prst="ellipse">
          <a:avLst/>
        </a:prstGeom>
        <a:solidFill>
          <a:srgbClr val="92D050"/>
        </a:solidFill>
        <a:ln w="25400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4F11791-EE9D-458C-9C0D-8C4DF815BFCA}">
      <dsp:nvSpPr>
        <dsp:cNvPr id="0" name=""/>
        <dsp:cNvSpPr/>
      </dsp:nvSpPr>
      <dsp:spPr>
        <a:xfrm rot="10800000">
          <a:off x="360309" y="359969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5,82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359969"/>
        <a:ext cx="1364695" cy="95916"/>
      </dsp:txXfrm>
    </dsp:sp>
    <dsp:sp modelId="{1406A248-9C69-41E6-8D85-0ED4F0938136}">
      <dsp:nvSpPr>
        <dsp:cNvPr id="0" name=""/>
        <dsp:cNvSpPr/>
      </dsp:nvSpPr>
      <dsp:spPr>
        <a:xfrm>
          <a:off x="339248" y="386868"/>
          <a:ext cx="42120" cy="42119"/>
        </a:xfrm>
        <a:prstGeom prst="ellipse">
          <a:avLst/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accent1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0FD797F-4E73-4FC3-B01F-0D74CF9244CE}">
      <dsp:nvSpPr>
        <dsp:cNvPr id="0" name=""/>
        <dsp:cNvSpPr/>
      </dsp:nvSpPr>
      <dsp:spPr>
        <a:xfrm rot="10800000">
          <a:off x="360309" y="479865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4,15 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479865"/>
        <a:ext cx="1364695" cy="95916"/>
      </dsp:txXfrm>
    </dsp:sp>
    <dsp:sp modelId="{46B86910-D26B-4F95-9827-3ADC43AE18EE}">
      <dsp:nvSpPr>
        <dsp:cNvPr id="0" name=""/>
        <dsp:cNvSpPr/>
      </dsp:nvSpPr>
      <dsp:spPr>
        <a:xfrm>
          <a:off x="339248" y="506764"/>
          <a:ext cx="42120" cy="42119"/>
        </a:xfrm>
        <a:prstGeom prst="ellipse">
          <a:avLst/>
        </a:prstGeom>
        <a:solidFill>
          <a:srgbClr val="7030A0"/>
        </a:solidFill>
        <a:ln w="25400" cap="flat" cmpd="sng" algn="ctr">
          <a:solidFill>
            <a:srgbClr val="7030A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317B56-0599-4F56-A0B7-415975366334}">
      <dsp:nvSpPr>
        <dsp:cNvPr id="0" name=""/>
        <dsp:cNvSpPr/>
      </dsp:nvSpPr>
      <dsp:spPr>
        <a:xfrm rot="10800000">
          <a:off x="360632" y="289"/>
          <a:ext cx="1388674" cy="98862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596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2989,7 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5347" y="289"/>
        <a:ext cx="1363959" cy="98862"/>
      </dsp:txXfrm>
    </dsp:sp>
    <dsp:sp modelId="{E17B80E1-7BAB-4E41-A74B-EC1A9DBAD870}">
      <dsp:nvSpPr>
        <dsp:cNvPr id="0" name=""/>
        <dsp:cNvSpPr/>
      </dsp:nvSpPr>
      <dsp:spPr>
        <a:xfrm>
          <a:off x="338925" y="28014"/>
          <a:ext cx="43414" cy="43413"/>
        </a:xfrm>
        <a:prstGeom prst="ellipse">
          <a:avLst/>
        </a:prstGeom>
        <a:solidFill>
          <a:srgbClr val="C00000"/>
        </a:solidFill>
        <a:ln w="25400" cap="flat" cmpd="sng" algn="ctr">
          <a:solidFill>
            <a:srgbClr val="C00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D7E4BD3-B707-4DAE-862C-B2CCAE37C549}">
      <dsp:nvSpPr>
        <dsp:cNvPr id="0" name=""/>
        <dsp:cNvSpPr/>
      </dsp:nvSpPr>
      <dsp:spPr>
        <a:xfrm rot="10800000">
          <a:off x="360632" y="123868"/>
          <a:ext cx="1388674" cy="98862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596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49,35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5347" y="123868"/>
        <a:ext cx="1363959" cy="98862"/>
      </dsp:txXfrm>
    </dsp:sp>
    <dsp:sp modelId="{185E2DE2-1D5B-4B4D-B945-DFDDF2C33608}">
      <dsp:nvSpPr>
        <dsp:cNvPr id="0" name=""/>
        <dsp:cNvSpPr/>
      </dsp:nvSpPr>
      <dsp:spPr>
        <a:xfrm>
          <a:off x="338925" y="151592"/>
          <a:ext cx="43414" cy="43413"/>
        </a:xfrm>
        <a:prstGeom prst="ellipse">
          <a:avLst/>
        </a:prstGeom>
        <a:solidFill>
          <a:schemeClr val="tx2"/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C97B532-372C-4341-9F51-4EDF589A5E16}">
      <dsp:nvSpPr>
        <dsp:cNvPr id="0" name=""/>
        <dsp:cNvSpPr/>
      </dsp:nvSpPr>
      <dsp:spPr>
        <a:xfrm rot="10800000">
          <a:off x="360632" y="247446"/>
          <a:ext cx="1388674" cy="98862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596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25,16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5347" y="247446"/>
        <a:ext cx="1363959" cy="98862"/>
      </dsp:txXfrm>
    </dsp:sp>
    <dsp:sp modelId="{F13C8B11-2853-4A6E-A433-AAA58C84128B}">
      <dsp:nvSpPr>
        <dsp:cNvPr id="0" name=""/>
        <dsp:cNvSpPr/>
      </dsp:nvSpPr>
      <dsp:spPr>
        <a:xfrm>
          <a:off x="338925" y="275170"/>
          <a:ext cx="43414" cy="43413"/>
        </a:xfrm>
        <a:prstGeom prst="ellipse">
          <a:avLst/>
        </a:prstGeom>
        <a:solidFill>
          <a:srgbClr val="92D050"/>
        </a:solidFill>
        <a:ln w="25400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4F11791-EE9D-458C-9C0D-8C4DF815BFCA}">
      <dsp:nvSpPr>
        <dsp:cNvPr id="0" name=""/>
        <dsp:cNvSpPr/>
      </dsp:nvSpPr>
      <dsp:spPr>
        <a:xfrm rot="10800000">
          <a:off x="360632" y="371024"/>
          <a:ext cx="1388674" cy="98862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596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5,87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5347" y="371024"/>
        <a:ext cx="1363959" cy="98862"/>
      </dsp:txXfrm>
    </dsp:sp>
    <dsp:sp modelId="{1406A248-9C69-41E6-8D85-0ED4F0938136}">
      <dsp:nvSpPr>
        <dsp:cNvPr id="0" name=""/>
        <dsp:cNvSpPr/>
      </dsp:nvSpPr>
      <dsp:spPr>
        <a:xfrm>
          <a:off x="338925" y="398748"/>
          <a:ext cx="43414" cy="43413"/>
        </a:xfrm>
        <a:prstGeom prst="ellipse">
          <a:avLst/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accent1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0FD797F-4E73-4FC3-B01F-0D74CF9244CE}">
      <dsp:nvSpPr>
        <dsp:cNvPr id="0" name=""/>
        <dsp:cNvSpPr/>
      </dsp:nvSpPr>
      <dsp:spPr>
        <a:xfrm rot="10800000">
          <a:off x="360632" y="494602"/>
          <a:ext cx="1388674" cy="98862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3596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4,15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5347" y="494602"/>
        <a:ext cx="1363959" cy="98862"/>
      </dsp:txXfrm>
    </dsp:sp>
    <dsp:sp modelId="{46B86910-D26B-4F95-9827-3ADC43AE18EE}">
      <dsp:nvSpPr>
        <dsp:cNvPr id="0" name=""/>
        <dsp:cNvSpPr/>
      </dsp:nvSpPr>
      <dsp:spPr>
        <a:xfrm>
          <a:off x="338925" y="522327"/>
          <a:ext cx="43414" cy="43413"/>
        </a:xfrm>
        <a:prstGeom prst="ellipse">
          <a:avLst/>
        </a:prstGeom>
        <a:solidFill>
          <a:srgbClr val="7030A0"/>
        </a:solidFill>
        <a:ln w="25400" cap="flat" cmpd="sng" algn="ctr">
          <a:solidFill>
            <a:srgbClr val="7030A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317B56-0599-4F56-A0B7-415975366334}">
      <dsp:nvSpPr>
        <dsp:cNvPr id="0" name=""/>
        <dsp:cNvSpPr/>
      </dsp:nvSpPr>
      <dsp:spPr>
        <a:xfrm rot="10800000">
          <a:off x="360309" y="281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906,84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281"/>
        <a:ext cx="1364695" cy="95916"/>
      </dsp:txXfrm>
    </dsp:sp>
    <dsp:sp modelId="{E17B80E1-7BAB-4E41-A74B-EC1A9DBAD870}">
      <dsp:nvSpPr>
        <dsp:cNvPr id="0" name=""/>
        <dsp:cNvSpPr/>
      </dsp:nvSpPr>
      <dsp:spPr>
        <a:xfrm>
          <a:off x="339248" y="27179"/>
          <a:ext cx="42120" cy="42119"/>
        </a:xfrm>
        <a:prstGeom prst="ellipse">
          <a:avLst/>
        </a:prstGeom>
        <a:solidFill>
          <a:srgbClr val="C00000"/>
        </a:solidFill>
        <a:ln w="25400" cap="flat" cmpd="sng" algn="ctr">
          <a:solidFill>
            <a:srgbClr val="C00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D7E4BD3-B707-4DAE-862C-B2CCAE37C549}">
      <dsp:nvSpPr>
        <dsp:cNvPr id="0" name=""/>
        <dsp:cNvSpPr/>
      </dsp:nvSpPr>
      <dsp:spPr>
        <a:xfrm rot="10800000">
          <a:off x="360309" y="120177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23,54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120177"/>
        <a:ext cx="1364695" cy="95916"/>
      </dsp:txXfrm>
    </dsp:sp>
    <dsp:sp modelId="{185E2DE2-1D5B-4B4D-B945-DFDDF2C33608}">
      <dsp:nvSpPr>
        <dsp:cNvPr id="0" name=""/>
        <dsp:cNvSpPr/>
      </dsp:nvSpPr>
      <dsp:spPr>
        <a:xfrm>
          <a:off x="339248" y="147075"/>
          <a:ext cx="42120" cy="42119"/>
        </a:xfrm>
        <a:prstGeom prst="ellipse">
          <a:avLst/>
        </a:prstGeom>
        <a:solidFill>
          <a:schemeClr val="tx2"/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C97B532-372C-4341-9F51-4EDF589A5E16}">
      <dsp:nvSpPr>
        <dsp:cNvPr id="0" name=""/>
        <dsp:cNvSpPr/>
      </dsp:nvSpPr>
      <dsp:spPr>
        <a:xfrm rot="10800000">
          <a:off x="360309" y="240073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25,51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240073"/>
        <a:ext cx="1364695" cy="95916"/>
      </dsp:txXfrm>
    </dsp:sp>
    <dsp:sp modelId="{F13C8B11-2853-4A6E-A433-AAA58C84128B}">
      <dsp:nvSpPr>
        <dsp:cNvPr id="0" name=""/>
        <dsp:cNvSpPr/>
      </dsp:nvSpPr>
      <dsp:spPr>
        <a:xfrm>
          <a:off x="339248" y="266972"/>
          <a:ext cx="42120" cy="42119"/>
        </a:xfrm>
        <a:prstGeom prst="ellipse">
          <a:avLst/>
        </a:prstGeom>
        <a:solidFill>
          <a:srgbClr val="92D050"/>
        </a:solidFill>
        <a:ln w="25400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4F11791-EE9D-458C-9C0D-8C4DF815BFCA}">
      <dsp:nvSpPr>
        <dsp:cNvPr id="0" name=""/>
        <dsp:cNvSpPr/>
      </dsp:nvSpPr>
      <dsp:spPr>
        <a:xfrm rot="10800000">
          <a:off x="360309" y="359969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3,47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359969"/>
        <a:ext cx="1364695" cy="95916"/>
      </dsp:txXfrm>
    </dsp:sp>
    <dsp:sp modelId="{1406A248-9C69-41E6-8D85-0ED4F0938136}">
      <dsp:nvSpPr>
        <dsp:cNvPr id="0" name=""/>
        <dsp:cNvSpPr/>
      </dsp:nvSpPr>
      <dsp:spPr>
        <a:xfrm>
          <a:off x="339248" y="386868"/>
          <a:ext cx="42120" cy="42119"/>
        </a:xfrm>
        <a:prstGeom prst="ellipse">
          <a:avLst/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accent1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0FD797F-4E73-4FC3-B01F-0D74CF9244CE}">
      <dsp:nvSpPr>
        <dsp:cNvPr id="0" name=""/>
        <dsp:cNvSpPr/>
      </dsp:nvSpPr>
      <dsp:spPr>
        <a:xfrm rot="10800000">
          <a:off x="360309" y="479865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2,98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479865"/>
        <a:ext cx="1364695" cy="95916"/>
      </dsp:txXfrm>
    </dsp:sp>
    <dsp:sp modelId="{46B86910-D26B-4F95-9827-3ADC43AE18EE}">
      <dsp:nvSpPr>
        <dsp:cNvPr id="0" name=""/>
        <dsp:cNvSpPr/>
      </dsp:nvSpPr>
      <dsp:spPr>
        <a:xfrm>
          <a:off x="339248" y="506764"/>
          <a:ext cx="42120" cy="42119"/>
        </a:xfrm>
        <a:prstGeom prst="ellipse">
          <a:avLst/>
        </a:prstGeom>
        <a:solidFill>
          <a:srgbClr val="7030A0"/>
        </a:solidFill>
        <a:ln w="25400" cap="flat" cmpd="sng" algn="ctr">
          <a:solidFill>
            <a:srgbClr val="7030A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317B56-0599-4F56-A0B7-415975366334}">
      <dsp:nvSpPr>
        <dsp:cNvPr id="0" name=""/>
        <dsp:cNvSpPr/>
      </dsp:nvSpPr>
      <dsp:spPr>
        <a:xfrm rot="10800000">
          <a:off x="360309" y="281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1115,69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281"/>
        <a:ext cx="1364695" cy="95916"/>
      </dsp:txXfrm>
    </dsp:sp>
    <dsp:sp modelId="{E17B80E1-7BAB-4E41-A74B-EC1A9DBAD870}">
      <dsp:nvSpPr>
        <dsp:cNvPr id="0" name=""/>
        <dsp:cNvSpPr/>
      </dsp:nvSpPr>
      <dsp:spPr>
        <a:xfrm>
          <a:off x="339248" y="27179"/>
          <a:ext cx="42120" cy="42119"/>
        </a:xfrm>
        <a:prstGeom prst="ellipse">
          <a:avLst/>
        </a:prstGeom>
        <a:solidFill>
          <a:srgbClr val="C00000"/>
        </a:solidFill>
        <a:ln w="25400" cap="flat" cmpd="sng" algn="ctr">
          <a:solidFill>
            <a:srgbClr val="C00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D7E4BD3-B707-4DAE-862C-B2CCAE37C549}">
      <dsp:nvSpPr>
        <dsp:cNvPr id="0" name=""/>
        <dsp:cNvSpPr/>
      </dsp:nvSpPr>
      <dsp:spPr>
        <a:xfrm rot="10800000">
          <a:off x="360309" y="120177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53,64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120177"/>
        <a:ext cx="1364695" cy="95916"/>
      </dsp:txXfrm>
    </dsp:sp>
    <dsp:sp modelId="{185E2DE2-1D5B-4B4D-B945-DFDDF2C33608}">
      <dsp:nvSpPr>
        <dsp:cNvPr id="0" name=""/>
        <dsp:cNvSpPr/>
      </dsp:nvSpPr>
      <dsp:spPr>
        <a:xfrm>
          <a:off x="339248" y="147075"/>
          <a:ext cx="42120" cy="42119"/>
        </a:xfrm>
        <a:prstGeom prst="ellipse">
          <a:avLst/>
        </a:prstGeom>
        <a:solidFill>
          <a:schemeClr val="tx2"/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C97B532-372C-4341-9F51-4EDF589A5E16}">
      <dsp:nvSpPr>
        <dsp:cNvPr id="0" name=""/>
        <dsp:cNvSpPr/>
      </dsp:nvSpPr>
      <dsp:spPr>
        <a:xfrm rot="10800000">
          <a:off x="360309" y="240073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26,42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240073"/>
        <a:ext cx="1364695" cy="95916"/>
      </dsp:txXfrm>
    </dsp:sp>
    <dsp:sp modelId="{F13C8B11-2853-4A6E-A433-AAA58C84128B}">
      <dsp:nvSpPr>
        <dsp:cNvPr id="0" name=""/>
        <dsp:cNvSpPr/>
      </dsp:nvSpPr>
      <dsp:spPr>
        <a:xfrm>
          <a:off x="339248" y="266972"/>
          <a:ext cx="42120" cy="42119"/>
        </a:xfrm>
        <a:prstGeom prst="ellipse">
          <a:avLst/>
        </a:prstGeom>
        <a:solidFill>
          <a:srgbClr val="92D050"/>
        </a:solidFill>
        <a:ln w="25400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4F11791-EE9D-458C-9C0D-8C4DF815BFCA}">
      <dsp:nvSpPr>
        <dsp:cNvPr id="0" name=""/>
        <dsp:cNvSpPr/>
      </dsp:nvSpPr>
      <dsp:spPr>
        <a:xfrm rot="10800000">
          <a:off x="360309" y="359969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3,0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359969"/>
        <a:ext cx="1364695" cy="95916"/>
      </dsp:txXfrm>
    </dsp:sp>
    <dsp:sp modelId="{1406A248-9C69-41E6-8D85-0ED4F0938136}">
      <dsp:nvSpPr>
        <dsp:cNvPr id="0" name=""/>
        <dsp:cNvSpPr/>
      </dsp:nvSpPr>
      <dsp:spPr>
        <a:xfrm>
          <a:off x="339248" y="386868"/>
          <a:ext cx="42120" cy="42119"/>
        </a:xfrm>
        <a:prstGeom prst="ellipse">
          <a:avLst/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accent1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0FD797F-4E73-4FC3-B01F-0D74CF9244CE}">
      <dsp:nvSpPr>
        <dsp:cNvPr id="0" name=""/>
        <dsp:cNvSpPr/>
      </dsp:nvSpPr>
      <dsp:spPr>
        <a:xfrm rot="10800000">
          <a:off x="360309" y="479865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3,0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479865"/>
        <a:ext cx="1364695" cy="95916"/>
      </dsp:txXfrm>
    </dsp:sp>
    <dsp:sp modelId="{46B86910-D26B-4F95-9827-3ADC43AE18EE}">
      <dsp:nvSpPr>
        <dsp:cNvPr id="0" name=""/>
        <dsp:cNvSpPr/>
      </dsp:nvSpPr>
      <dsp:spPr>
        <a:xfrm>
          <a:off x="339248" y="506764"/>
          <a:ext cx="42120" cy="42119"/>
        </a:xfrm>
        <a:prstGeom prst="ellipse">
          <a:avLst/>
        </a:prstGeom>
        <a:solidFill>
          <a:srgbClr val="7030A0"/>
        </a:solidFill>
        <a:ln w="25400" cap="flat" cmpd="sng" algn="ctr">
          <a:solidFill>
            <a:srgbClr val="7030A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317B56-0599-4F56-A0B7-415975366334}">
      <dsp:nvSpPr>
        <dsp:cNvPr id="0" name=""/>
        <dsp:cNvSpPr/>
      </dsp:nvSpPr>
      <dsp:spPr>
        <a:xfrm rot="10800000">
          <a:off x="360309" y="281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2160,47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281"/>
        <a:ext cx="1364695" cy="95916"/>
      </dsp:txXfrm>
    </dsp:sp>
    <dsp:sp modelId="{E17B80E1-7BAB-4E41-A74B-EC1A9DBAD870}">
      <dsp:nvSpPr>
        <dsp:cNvPr id="0" name=""/>
        <dsp:cNvSpPr/>
      </dsp:nvSpPr>
      <dsp:spPr>
        <a:xfrm>
          <a:off x="339248" y="27179"/>
          <a:ext cx="42120" cy="42119"/>
        </a:xfrm>
        <a:prstGeom prst="ellipse">
          <a:avLst/>
        </a:prstGeom>
        <a:solidFill>
          <a:srgbClr val="C00000"/>
        </a:solidFill>
        <a:ln w="25400" cap="flat" cmpd="sng" algn="ctr">
          <a:solidFill>
            <a:srgbClr val="C00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D7E4BD3-B707-4DAE-862C-B2CCAE37C549}">
      <dsp:nvSpPr>
        <dsp:cNvPr id="0" name=""/>
        <dsp:cNvSpPr/>
      </dsp:nvSpPr>
      <dsp:spPr>
        <a:xfrm rot="10800000">
          <a:off x="360309" y="120177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52,0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120177"/>
        <a:ext cx="1364695" cy="95916"/>
      </dsp:txXfrm>
    </dsp:sp>
    <dsp:sp modelId="{185E2DE2-1D5B-4B4D-B945-DFDDF2C33608}">
      <dsp:nvSpPr>
        <dsp:cNvPr id="0" name=""/>
        <dsp:cNvSpPr/>
      </dsp:nvSpPr>
      <dsp:spPr>
        <a:xfrm>
          <a:off x="339248" y="147075"/>
          <a:ext cx="42120" cy="42119"/>
        </a:xfrm>
        <a:prstGeom prst="ellipse">
          <a:avLst/>
        </a:prstGeom>
        <a:solidFill>
          <a:schemeClr val="tx2"/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C97B532-372C-4341-9F51-4EDF589A5E16}">
      <dsp:nvSpPr>
        <dsp:cNvPr id="0" name=""/>
        <dsp:cNvSpPr/>
      </dsp:nvSpPr>
      <dsp:spPr>
        <a:xfrm rot="10800000">
          <a:off x="360309" y="240073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24,95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240073"/>
        <a:ext cx="1364695" cy="95916"/>
      </dsp:txXfrm>
    </dsp:sp>
    <dsp:sp modelId="{F13C8B11-2853-4A6E-A433-AAA58C84128B}">
      <dsp:nvSpPr>
        <dsp:cNvPr id="0" name=""/>
        <dsp:cNvSpPr/>
      </dsp:nvSpPr>
      <dsp:spPr>
        <a:xfrm>
          <a:off x="339248" y="266972"/>
          <a:ext cx="42120" cy="42119"/>
        </a:xfrm>
        <a:prstGeom prst="ellipse">
          <a:avLst/>
        </a:prstGeom>
        <a:solidFill>
          <a:srgbClr val="92D050"/>
        </a:solidFill>
        <a:ln w="25400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4F11791-EE9D-458C-9C0D-8C4DF815BFCA}">
      <dsp:nvSpPr>
        <dsp:cNvPr id="0" name=""/>
        <dsp:cNvSpPr/>
      </dsp:nvSpPr>
      <dsp:spPr>
        <a:xfrm rot="10800000">
          <a:off x="360309" y="359969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3,20 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359969"/>
        <a:ext cx="1364695" cy="95916"/>
      </dsp:txXfrm>
    </dsp:sp>
    <dsp:sp modelId="{1406A248-9C69-41E6-8D85-0ED4F0938136}">
      <dsp:nvSpPr>
        <dsp:cNvPr id="0" name=""/>
        <dsp:cNvSpPr/>
      </dsp:nvSpPr>
      <dsp:spPr>
        <a:xfrm>
          <a:off x="339248" y="386868"/>
          <a:ext cx="42120" cy="42119"/>
        </a:xfrm>
        <a:prstGeom prst="ellipse">
          <a:avLst/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accent1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0FD797F-4E73-4FC3-B01F-0D74CF9244CE}">
      <dsp:nvSpPr>
        <dsp:cNvPr id="0" name=""/>
        <dsp:cNvSpPr/>
      </dsp:nvSpPr>
      <dsp:spPr>
        <a:xfrm rot="10800000">
          <a:off x="360309" y="479865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3,0 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479865"/>
        <a:ext cx="1364695" cy="95916"/>
      </dsp:txXfrm>
    </dsp:sp>
    <dsp:sp modelId="{46B86910-D26B-4F95-9827-3ADC43AE18EE}">
      <dsp:nvSpPr>
        <dsp:cNvPr id="0" name=""/>
        <dsp:cNvSpPr/>
      </dsp:nvSpPr>
      <dsp:spPr>
        <a:xfrm>
          <a:off x="339248" y="506764"/>
          <a:ext cx="42120" cy="42119"/>
        </a:xfrm>
        <a:prstGeom prst="ellipse">
          <a:avLst/>
        </a:prstGeom>
        <a:solidFill>
          <a:srgbClr val="7030A0"/>
        </a:solidFill>
        <a:ln w="25400" cap="flat" cmpd="sng" algn="ctr">
          <a:solidFill>
            <a:srgbClr val="7030A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317B56-0599-4F56-A0B7-415975366334}">
      <dsp:nvSpPr>
        <dsp:cNvPr id="0" name=""/>
        <dsp:cNvSpPr/>
      </dsp:nvSpPr>
      <dsp:spPr>
        <a:xfrm rot="10800000">
          <a:off x="360309" y="281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786,46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281"/>
        <a:ext cx="1364695" cy="95916"/>
      </dsp:txXfrm>
    </dsp:sp>
    <dsp:sp modelId="{E17B80E1-7BAB-4E41-A74B-EC1A9DBAD870}">
      <dsp:nvSpPr>
        <dsp:cNvPr id="0" name=""/>
        <dsp:cNvSpPr/>
      </dsp:nvSpPr>
      <dsp:spPr>
        <a:xfrm>
          <a:off x="339248" y="27179"/>
          <a:ext cx="42120" cy="42119"/>
        </a:xfrm>
        <a:prstGeom prst="ellipse">
          <a:avLst/>
        </a:prstGeom>
        <a:solidFill>
          <a:srgbClr val="C00000"/>
        </a:solidFill>
        <a:ln w="25400" cap="flat" cmpd="sng" algn="ctr">
          <a:solidFill>
            <a:srgbClr val="C00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D7E4BD3-B707-4DAE-862C-B2CCAE37C549}">
      <dsp:nvSpPr>
        <dsp:cNvPr id="0" name=""/>
        <dsp:cNvSpPr/>
      </dsp:nvSpPr>
      <dsp:spPr>
        <a:xfrm rot="10800000">
          <a:off x="360309" y="120177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45,13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120177"/>
        <a:ext cx="1364695" cy="95916"/>
      </dsp:txXfrm>
    </dsp:sp>
    <dsp:sp modelId="{185E2DE2-1D5B-4B4D-B945-DFDDF2C33608}">
      <dsp:nvSpPr>
        <dsp:cNvPr id="0" name=""/>
        <dsp:cNvSpPr/>
      </dsp:nvSpPr>
      <dsp:spPr>
        <a:xfrm>
          <a:off x="339248" y="147075"/>
          <a:ext cx="42120" cy="42119"/>
        </a:xfrm>
        <a:prstGeom prst="ellipse">
          <a:avLst/>
        </a:prstGeom>
        <a:solidFill>
          <a:schemeClr val="tx2"/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C97B532-372C-4341-9F51-4EDF589A5E16}">
      <dsp:nvSpPr>
        <dsp:cNvPr id="0" name=""/>
        <dsp:cNvSpPr/>
      </dsp:nvSpPr>
      <dsp:spPr>
        <a:xfrm rot="10800000">
          <a:off x="360309" y="240073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45,13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240073"/>
        <a:ext cx="1364695" cy="95916"/>
      </dsp:txXfrm>
    </dsp:sp>
    <dsp:sp modelId="{F13C8B11-2853-4A6E-A433-AAA58C84128B}">
      <dsp:nvSpPr>
        <dsp:cNvPr id="0" name=""/>
        <dsp:cNvSpPr/>
      </dsp:nvSpPr>
      <dsp:spPr>
        <a:xfrm>
          <a:off x="339248" y="266972"/>
          <a:ext cx="42120" cy="42119"/>
        </a:xfrm>
        <a:prstGeom prst="ellipse">
          <a:avLst/>
        </a:prstGeom>
        <a:solidFill>
          <a:srgbClr val="92D050"/>
        </a:solidFill>
        <a:ln w="25400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4F11791-EE9D-458C-9C0D-8C4DF815BFCA}">
      <dsp:nvSpPr>
        <dsp:cNvPr id="0" name=""/>
        <dsp:cNvSpPr/>
      </dsp:nvSpPr>
      <dsp:spPr>
        <a:xfrm rot="10800000">
          <a:off x="360309" y="359969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2,13 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359969"/>
        <a:ext cx="1364695" cy="95916"/>
      </dsp:txXfrm>
    </dsp:sp>
    <dsp:sp modelId="{1406A248-9C69-41E6-8D85-0ED4F0938136}">
      <dsp:nvSpPr>
        <dsp:cNvPr id="0" name=""/>
        <dsp:cNvSpPr/>
      </dsp:nvSpPr>
      <dsp:spPr>
        <a:xfrm>
          <a:off x="339248" y="386868"/>
          <a:ext cx="42120" cy="42119"/>
        </a:xfrm>
        <a:prstGeom prst="ellipse">
          <a:avLst/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accent1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0FD797F-4E73-4FC3-B01F-0D74CF9244CE}">
      <dsp:nvSpPr>
        <dsp:cNvPr id="0" name=""/>
        <dsp:cNvSpPr/>
      </dsp:nvSpPr>
      <dsp:spPr>
        <a:xfrm rot="10800000">
          <a:off x="360309" y="479865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2,95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479865"/>
        <a:ext cx="1364695" cy="95916"/>
      </dsp:txXfrm>
    </dsp:sp>
    <dsp:sp modelId="{46B86910-D26B-4F95-9827-3ADC43AE18EE}">
      <dsp:nvSpPr>
        <dsp:cNvPr id="0" name=""/>
        <dsp:cNvSpPr/>
      </dsp:nvSpPr>
      <dsp:spPr>
        <a:xfrm>
          <a:off x="339248" y="506764"/>
          <a:ext cx="42120" cy="42119"/>
        </a:xfrm>
        <a:prstGeom prst="ellipse">
          <a:avLst/>
        </a:prstGeom>
        <a:solidFill>
          <a:srgbClr val="7030A0"/>
        </a:solidFill>
        <a:ln w="25400" cap="flat" cmpd="sng" algn="ctr">
          <a:solidFill>
            <a:srgbClr val="7030A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317B56-0599-4F56-A0B7-415975366334}">
      <dsp:nvSpPr>
        <dsp:cNvPr id="0" name=""/>
        <dsp:cNvSpPr/>
      </dsp:nvSpPr>
      <dsp:spPr>
        <a:xfrm rot="10800000">
          <a:off x="442444" y="246"/>
          <a:ext cx="1701109" cy="127244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111" tIns="38100" rIns="71120" bIns="38100" numCol="1" spcCol="1270" anchor="ctr" anchorCtr="0">
          <a:noAutofit/>
        </a:bodyPr>
        <a:lstStyle/>
        <a:p>
          <a:pPr lvl="0" algn="l" defTabSz="4445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>
              <a:ln>
                <a:noFill/>
              </a:ln>
              <a:solidFill>
                <a:schemeClr val="tx1"/>
              </a:solidFill>
            </a:rPr>
            <a:t>Теплоснабжение </a:t>
          </a:r>
          <a:r>
            <a:rPr lang="ru-RU" sz="1000" b="1" kern="1200" dirty="0" err="1" smtClean="0">
              <a:ln>
                <a:noFill/>
              </a:ln>
              <a:solidFill>
                <a:schemeClr val="tx1"/>
              </a:solidFill>
            </a:rPr>
            <a:t>руб</a:t>
          </a:r>
          <a:r>
            <a:rPr lang="ru-RU" sz="1000" b="1" kern="1200" dirty="0" smtClean="0">
              <a:ln>
                <a:noFill/>
              </a:ln>
              <a:solidFill>
                <a:schemeClr val="tx1"/>
              </a:solidFill>
            </a:rPr>
            <a:t>/Гкал</a:t>
          </a:r>
          <a:endParaRPr lang="ru-RU" sz="10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474255" y="246"/>
        <a:ext cx="1669298" cy="127244"/>
      </dsp:txXfrm>
    </dsp:sp>
    <dsp:sp modelId="{E17B80E1-7BAB-4E41-A74B-EC1A9DBAD870}">
      <dsp:nvSpPr>
        <dsp:cNvPr id="0" name=""/>
        <dsp:cNvSpPr/>
      </dsp:nvSpPr>
      <dsp:spPr>
        <a:xfrm>
          <a:off x="414505" y="35930"/>
          <a:ext cx="55878" cy="55876"/>
        </a:xfrm>
        <a:prstGeom prst="ellipse">
          <a:avLst/>
        </a:prstGeom>
        <a:solidFill>
          <a:srgbClr val="C00000"/>
        </a:solidFill>
        <a:ln w="25400" cap="flat" cmpd="sng" algn="ctr">
          <a:solidFill>
            <a:srgbClr val="C00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D7E4BD3-B707-4DAE-862C-B2CCAE37C549}">
      <dsp:nvSpPr>
        <dsp:cNvPr id="0" name=""/>
        <dsp:cNvSpPr/>
      </dsp:nvSpPr>
      <dsp:spPr>
        <a:xfrm rot="10800000">
          <a:off x="442444" y="159302"/>
          <a:ext cx="1701109" cy="127244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111" tIns="38100" rIns="71120" bIns="38100" numCol="1" spcCol="1270" anchor="ctr" anchorCtr="0">
          <a:noAutofit/>
        </a:bodyPr>
        <a:lstStyle/>
        <a:p>
          <a:pPr lvl="0" algn="l" defTabSz="4445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>
              <a:ln>
                <a:noFill/>
              </a:ln>
              <a:solidFill>
                <a:schemeClr val="tx1"/>
              </a:solidFill>
            </a:rPr>
            <a:t>Водоснабжение </a:t>
          </a:r>
          <a:r>
            <a:rPr lang="ru-RU" sz="1000" b="1" kern="1200" dirty="0" err="1" smtClean="0">
              <a:ln>
                <a:noFill/>
              </a:ln>
              <a:solidFill>
                <a:schemeClr val="tx1"/>
              </a:solidFill>
            </a:rPr>
            <a:t>руб</a:t>
          </a:r>
          <a:r>
            <a:rPr lang="ru-RU" sz="1000" b="1" kern="1200" dirty="0" smtClean="0">
              <a:ln>
                <a:noFill/>
              </a:ln>
              <a:solidFill>
                <a:schemeClr val="tx1"/>
              </a:solidFill>
            </a:rPr>
            <a:t>/м3</a:t>
          </a:r>
          <a:endParaRPr lang="ru-RU" sz="10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474255" y="159302"/>
        <a:ext cx="1669298" cy="127244"/>
      </dsp:txXfrm>
    </dsp:sp>
    <dsp:sp modelId="{185E2DE2-1D5B-4B4D-B945-DFDDF2C33608}">
      <dsp:nvSpPr>
        <dsp:cNvPr id="0" name=""/>
        <dsp:cNvSpPr/>
      </dsp:nvSpPr>
      <dsp:spPr>
        <a:xfrm>
          <a:off x="414505" y="194986"/>
          <a:ext cx="55878" cy="55876"/>
        </a:xfrm>
        <a:prstGeom prst="ellipse">
          <a:avLst/>
        </a:prstGeom>
        <a:solidFill>
          <a:schemeClr val="tx2"/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C97B532-372C-4341-9F51-4EDF589A5E16}">
      <dsp:nvSpPr>
        <dsp:cNvPr id="0" name=""/>
        <dsp:cNvSpPr/>
      </dsp:nvSpPr>
      <dsp:spPr>
        <a:xfrm rot="10800000">
          <a:off x="442444" y="318357"/>
          <a:ext cx="1701109" cy="127244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111" tIns="38100" rIns="71120" bIns="38100" numCol="1" spcCol="1270" anchor="ctr" anchorCtr="0">
          <a:noAutofit/>
        </a:bodyPr>
        <a:lstStyle/>
        <a:p>
          <a:pPr lvl="0" algn="l" defTabSz="4445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>
              <a:ln>
                <a:noFill/>
              </a:ln>
              <a:solidFill>
                <a:schemeClr val="tx1"/>
              </a:solidFill>
            </a:rPr>
            <a:t>Водоотведение </a:t>
          </a:r>
          <a:r>
            <a:rPr lang="ru-RU" sz="1000" b="1" kern="1200" dirty="0" err="1" smtClean="0">
              <a:ln>
                <a:noFill/>
              </a:ln>
              <a:solidFill>
                <a:schemeClr val="tx1"/>
              </a:solidFill>
            </a:rPr>
            <a:t>руб</a:t>
          </a:r>
          <a:r>
            <a:rPr lang="ru-RU" sz="1000" b="1" kern="1200" dirty="0" smtClean="0">
              <a:ln>
                <a:noFill/>
              </a:ln>
              <a:solidFill>
                <a:schemeClr val="tx1"/>
              </a:solidFill>
            </a:rPr>
            <a:t>/м3</a:t>
          </a:r>
          <a:endParaRPr lang="ru-RU" sz="10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474255" y="318357"/>
        <a:ext cx="1669298" cy="127244"/>
      </dsp:txXfrm>
    </dsp:sp>
    <dsp:sp modelId="{F13C8B11-2853-4A6E-A433-AAA58C84128B}">
      <dsp:nvSpPr>
        <dsp:cNvPr id="0" name=""/>
        <dsp:cNvSpPr/>
      </dsp:nvSpPr>
      <dsp:spPr>
        <a:xfrm>
          <a:off x="414505" y="354041"/>
          <a:ext cx="55878" cy="55876"/>
        </a:xfrm>
        <a:prstGeom prst="ellipse">
          <a:avLst/>
        </a:prstGeom>
        <a:solidFill>
          <a:srgbClr val="92D050"/>
        </a:solidFill>
        <a:ln w="25400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4F11791-EE9D-458C-9C0D-8C4DF815BFCA}">
      <dsp:nvSpPr>
        <dsp:cNvPr id="0" name=""/>
        <dsp:cNvSpPr/>
      </dsp:nvSpPr>
      <dsp:spPr>
        <a:xfrm rot="10800000">
          <a:off x="442444" y="477413"/>
          <a:ext cx="1701109" cy="127244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111" tIns="38100" rIns="71120" bIns="38100" numCol="1" spcCol="1270" anchor="ctr" anchorCtr="0">
          <a:noAutofit/>
        </a:bodyPr>
        <a:lstStyle/>
        <a:p>
          <a:pPr lvl="0" algn="l" defTabSz="4445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>
              <a:ln>
                <a:noFill/>
              </a:ln>
              <a:solidFill>
                <a:schemeClr val="tx1"/>
              </a:solidFill>
            </a:rPr>
            <a:t>Газоснабжение </a:t>
          </a:r>
          <a:r>
            <a:rPr lang="ru-RU" sz="1000" b="1" kern="1200" dirty="0" err="1" smtClean="0">
              <a:ln>
                <a:noFill/>
              </a:ln>
              <a:solidFill>
                <a:schemeClr val="tx1"/>
              </a:solidFill>
            </a:rPr>
            <a:t>руб</a:t>
          </a:r>
          <a:r>
            <a:rPr lang="ru-RU" sz="1000" b="1" kern="1200" dirty="0" smtClean="0">
              <a:ln>
                <a:noFill/>
              </a:ln>
              <a:solidFill>
                <a:schemeClr val="tx1"/>
              </a:solidFill>
            </a:rPr>
            <a:t>/м3</a:t>
          </a:r>
          <a:endParaRPr lang="ru-RU" sz="10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474255" y="477413"/>
        <a:ext cx="1669298" cy="127244"/>
      </dsp:txXfrm>
    </dsp:sp>
    <dsp:sp modelId="{1406A248-9C69-41E6-8D85-0ED4F0938136}">
      <dsp:nvSpPr>
        <dsp:cNvPr id="0" name=""/>
        <dsp:cNvSpPr/>
      </dsp:nvSpPr>
      <dsp:spPr>
        <a:xfrm>
          <a:off x="414505" y="513097"/>
          <a:ext cx="55878" cy="55876"/>
        </a:xfrm>
        <a:prstGeom prst="ellipse">
          <a:avLst/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accent1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0FD797F-4E73-4FC3-B01F-0D74CF9244CE}">
      <dsp:nvSpPr>
        <dsp:cNvPr id="0" name=""/>
        <dsp:cNvSpPr/>
      </dsp:nvSpPr>
      <dsp:spPr>
        <a:xfrm rot="10800000">
          <a:off x="230499" y="636469"/>
          <a:ext cx="2097060" cy="155372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111" tIns="38100" rIns="71120" bIns="38100" numCol="1" spcCol="1270" anchor="ctr" anchorCtr="0">
          <a:noAutofit/>
        </a:bodyPr>
        <a:lstStyle/>
        <a:p>
          <a:pPr lvl="0" algn="l" defTabSz="4445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>
              <a:ln>
                <a:noFill/>
              </a:ln>
              <a:solidFill>
                <a:schemeClr val="tx1"/>
              </a:solidFill>
            </a:rPr>
            <a:t>       Электроснабжение </a:t>
          </a:r>
          <a:r>
            <a:rPr lang="ru-RU" sz="1000" b="1" kern="1200" dirty="0" err="1" smtClean="0">
              <a:ln>
                <a:noFill/>
              </a:ln>
              <a:solidFill>
                <a:schemeClr val="tx1"/>
              </a:solidFill>
            </a:rPr>
            <a:t>руб</a:t>
          </a:r>
          <a:r>
            <a:rPr lang="ru-RU" sz="1000" b="1" kern="1200" dirty="0" smtClean="0">
              <a:ln>
                <a:noFill/>
              </a:ln>
              <a:solidFill>
                <a:schemeClr val="tx1"/>
              </a:solidFill>
            </a:rPr>
            <a:t>/</a:t>
          </a:r>
          <a:r>
            <a:rPr lang="ru-RU" sz="1000" b="1" kern="1200" dirty="0" err="1" smtClean="0">
              <a:ln>
                <a:noFill/>
              </a:ln>
              <a:solidFill>
                <a:schemeClr val="tx1"/>
              </a:solidFill>
            </a:rPr>
            <a:t>кВтч</a:t>
          </a:r>
          <a:endParaRPr lang="ru-RU" sz="10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269342" y="636469"/>
        <a:ext cx="2058217" cy="155372"/>
      </dsp:txXfrm>
    </dsp:sp>
    <dsp:sp modelId="{46B86910-D26B-4F95-9827-3ADC43AE18EE}">
      <dsp:nvSpPr>
        <dsp:cNvPr id="0" name=""/>
        <dsp:cNvSpPr/>
      </dsp:nvSpPr>
      <dsp:spPr>
        <a:xfrm>
          <a:off x="400535" y="686217"/>
          <a:ext cx="55878" cy="55876"/>
        </a:xfrm>
        <a:prstGeom prst="ellipse">
          <a:avLst/>
        </a:prstGeom>
        <a:solidFill>
          <a:srgbClr val="7030A0"/>
        </a:solidFill>
        <a:ln w="25400" cap="flat" cmpd="sng" algn="ctr">
          <a:solidFill>
            <a:srgbClr val="7030A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317B56-0599-4F56-A0B7-415975366334}">
      <dsp:nvSpPr>
        <dsp:cNvPr id="0" name=""/>
        <dsp:cNvSpPr/>
      </dsp:nvSpPr>
      <dsp:spPr>
        <a:xfrm rot="10800000">
          <a:off x="360309" y="281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613,78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281"/>
        <a:ext cx="1364695" cy="95916"/>
      </dsp:txXfrm>
    </dsp:sp>
    <dsp:sp modelId="{E17B80E1-7BAB-4E41-A74B-EC1A9DBAD870}">
      <dsp:nvSpPr>
        <dsp:cNvPr id="0" name=""/>
        <dsp:cNvSpPr/>
      </dsp:nvSpPr>
      <dsp:spPr>
        <a:xfrm>
          <a:off x="339248" y="27179"/>
          <a:ext cx="42120" cy="42119"/>
        </a:xfrm>
        <a:prstGeom prst="ellipse">
          <a:avLst/>
        </a:prstGeom>
        <a:solidFill>
          <a:srgbClr val="C00000"/>
        </a:solidFill>
        <a:ln w="25400" cap="flat" cmpd="sng" algn="ctr">
          <a:solidFill>
            <a:srgbClr val="C00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D7E4BD3-B707-4DAE-862C-B2CCAE37C549}">
      <dsp:nvSpPr>
        <dsp:cNvPr id="0" name=""/>
        <dsp:cNvSpPr/>
      </dsp:nvSpPr>
      <dsp:spPr>
        <a:xfrm rot="10800000">
          <a:off x="360309" y="120177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26,72 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120177"/>
        <a:ext cx="1364695" cy="95916"/>
      </dsp:txXfrm>
    </dsp:sp>
    <dsp:sp modelId="{185E2DE2-1D5B-4B4D-B945-DFDDF2C33608}">
      <dsp:nvSpPr>
        <dsp:cNvPr id="0" name=""/>
        <dsp:cNvSpPr/>
      </dsp:nvSpPr>
      <dsp:spPr>
        <a:xfrm>
          <a:off x="339248" y="147075"/>
          <a:ext cx="42120" cy="42119"/>
        </a:xfrm>
        <a:prstGeom prst="ellipse">
          <a:avLst/>
        </a:prstGeom>
        <a:solidFill>
          <a:schemeClr val="tx2"/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C97B532-372C-4341-9F51-4EDF589A5E16}">
      <dsp:nvSpPr>
        <dsp:cNvPr id="0" name=""/>
        <dsp:cNvSpPr/>
      </dsp:nvSpPr>
      <dsp:spPr>
        <a:xfrm rot="10800000">
          <a:off x="360309" y="240073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14,80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240073"/>
        <a:ext cx="1364695" cy="95916"/>
      </dsp:txXfrm>
    </dsp:sp>
    <dsp:sp modelId="{F13C8B11-2853-4A6E-A433-AAA58C84128B}">
      <dsp:nvSpPr>
        <dsp:cNvPr id="0" name=""/>
        <dsp:cNvSpPr/>
      </dsp:nvSpPr>
      <dsp:spPr>
        <a:xfrm>
          <a:off x="339248" y="266972"/>
          <a:ext cx="42120" cy="42119"/>
        </a:xfrm>
        <a:prstGeom prst="ellipse">
          <a:avLst/>
        </a:prstGeom>
        <a:solidFill>
          <a:srgbClr val="92D050"/>
        </a:solidFill>
        <a:ln w="25400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4F11791-EE9D-458C-9C0D-8C4DF815BFCA}">
      <dsp:nvSpPr>
        <dsp:cNvPr id="0" name=""/>
        <dsp:cNvSpPr/>
      </dsp:nvSpPr>
      <dsp:spPr>
        <a:xfrm rot="10800000">
          <a:off x="360309" y="359969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kk-KZ" sz="800" b="1" kern="1200" dirty="0" smtClean="0">
              <a:ln>
                <a:noFill/>
              </a:ln>
              <a:solidFill>
                <a:schemeClr val="tx1"/>
              </a:solidFill>
            </a:rPr>
            <a:t>65,68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359969"/>
        <a:ext cx="1364695" cy="95916"/>
      </dsp:txXfrm>
    </dsp:sp>
    <dsp:sp modelId="{1406A248-9C69-41E6-8D85-0ED4F0938136}">
      <dsp:nvSpPr>
        <dsp:cNvPr id="0" name=""/>
        <dsp:cNvSpPr/>
      </dsp:nvSpPr>
      <dsp:spPr>
        <a:xfrm>
          <a:off x="339248" y="386868"/>
          <a:ext cx="42120" cy="42119"/>
        </a:xfrm>
        <a:prstGeom prst="ellipse">
          <a:avLst/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accent1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0FD797F-4E73-4FC3-B01F-0D74CF9244CE}">
      <dsp:nvSpPr>
        <dsp:cNvPr id="0" name=""/>
        <dsp:cNvSpPr/>
      </dsp:nvSpPr>
      <dsp:spPr>
        <a:xfrm rot="10800000">
          <a:off x="360309" y="479865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3,68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479865"/>
        <a:ext cx="1364695" cy="95916"/>
      </dsp:txXfrm>
    </dsp:sp>
    <dsp:sp modelId="{46B86910-D26B-4F95-9827-3ADC43AE18EE}">
      <dsp:nvSpPr>
        <dsp:cNvPr id="0" name=""/>
        <dsp:cNvSpPr/>
      </dsp:nvSpPr>
      <dsp:spPr>
        <a:xfrm>
          <a:off x="339248" y="506764"/>
          <a:ext cx="42120" cy="42119"/>
        </a:xfrm>
        <a:prstGeom prst="ellipse">
          <a:avLst/>
        </a:prstGeom>
        <a:solidFill>
          <a:srgbClr val="7030A0"/>
        </a:solidFill>
        <a:ln w="25400" cap="flat" cmpd="sng" algn="ctr">
          <a:solidFill>
            <a:srgbClr val="7030A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317B56-0599-4F56-A0B7-415975366334}">
      <dsp:nvSpPr>
        <dsp:cNvPr id="0" name=""/>
        <dsp:cNvSpPr/>
      </dsp:nvSpPr>
      <dsp:spPr>
        <a:xfrm rot="10800000">
          <a:off x="360309" y="281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1243,65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281"/>
        <a:ext cx="1364695" cy="95916"/>
      </dsp:txXfrm>
    </dsp:sp>
    <dsp:sp modelId="{E17B80E1-7BAB-4E41-A74B-EC1A9DBAD870}">
      <dsp:nvSpPr>
        <dsp:cNvPr id="0" name=""/>
        <dsp:cNvSpPr/>
      </dsp:nvSpPr>
      <dsp:spPr>
        <a:xfrm>
          <a:off x="339248" y="27179"/>
          <a:ext cx="42120" cy="42119"/>
        </a:xfrm>
        <a:prstGeom prst="ellipse">
          <a:avLst/>
        </a:prstGeom>
        <a:solidFill>
          <a:srgbClr val="C00000"/>
        </a:solidFill>
        <a:ln w="25400" cap="flat" cmpd="sng" algn="ctr">
          <a:solidFill>
            <a:srgbClr val="C00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D7E4BD3-B707-4DAE-862C-B2CCAE37C549}">
      <dsp:nvSpPr>
        <dsp:cNvPr id="0" name=""/>
        <dsp:cNvSpPr/>
      </dsp:nvSpPr>
      <dsp:spPr>
        <a:xfrm rot="10800000">
          <a:off x="360309" y="120177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69,54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120177"/>
        <a:ext cx="1364695" cy="95916"/>
      </dsp:txXfrm>
    </dsp:sp>
    <dsp:sp modelId="{185E2DE2-1D5B-4B4D-B945-DFDDF2C33608}">
      <dsp:nvSpPr>
        <dsp:cNvPr id="0" name=""/>
        <dsp:cNvSpPr/>
      </dsp:nvSpPr>
      <dsp:spPr>
        <a:xfrm>
          <a:off x="339248" y="147075"/>
          <a:ext cx="42120" cy="42119"/>
        </a:xfrm>
        <a:prstGeom prst="ellipse">
          <a:avLst/>
        </a:prstGeom>
        <a:solidFill>
          <a:schemeClr val="tx2"/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C97B532-372C-4341-9F51-4EDF589A5E16}">
      <dsp:nvSpPr>
        <dsp:cNvPr id="0" name=""/>
        <dsp:cNvSpPr/>
      </dsp:nvSpPr>
      <dsp:spPr>
        <a:xfrm rot="10800000">
          <a:off x="360309" y="240073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49,11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240073"/>
        <a:ext cx="1364695" cy="95916"/>
      </dsp:txXfrm>
    </dsp:sp>
    <dsp:sp modelId="{F13C8B11-2853-4A6E-A433-AAA58C84128B}">
      <dsp:nvSpPr>
        <dsp:cNvPr id="0" name=""/>
        <dsp:cNvSpPr/>
      </dsp:nvSpPr>
      <dsp:spPr>
        <a:xfrm>
          <a:off x="317909" y="270989"/>
          <a:ext cx="42120" cy="42119"/>
        </a:xfrm>
        <a:prstGeom prst="ellipse">
          <a:avLst/>
        </a:prstGeom>
        <a:solidFill>
          <a:srgbClr val="92D050"/>
        </a:solidFill>
        <a:ln w="25400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4F11791-EE9D-458C-9C0D-8C4DF815BFCA}">
      <dsp:nvSpPr>
        <dsp:cNvPr id="0" name=""/>
        <dsp:cNvSpPr/>
      </dsp:nvSpPr>
      <dsp:spPr>
        <a:xfrm rot="10800000">
          <a:off x="360309" y="359969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359969"/>
        <a:ext cx="1364695" cy="95916"/>
      </dsp:txXfrm>
    </dsp:sp>
    <dsp:sp modelId="{1406A248-9C69-41E6-8D85-0ED4F0938136}">
      <dsp:nvSpPr>
        <dsp:cNvPr id="0" name=""/>
        <dsp:cNvSpPr/>
      </dsp:nvSpPr>
      <dsp:spPr>
        <a:xfrm>
          <a:off x="339248" y="386868"/>
          <a:ext cx="42120" cy="42119"/>
        </a:xfrm>
        <a:prstGeom prst="ellipse">
          <a:avLst/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accent1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0FD797F-4E73-4FC3-B01F-0D74CF9244CE}">
      <dsp:nvSpPr>
        <dsp:cNvPr id="0" name=""/>
        <dsp:cNvSpPr/>
      </dsp:nvSpPr>
      <dsp:spPr>
        <a:xfrm rot="10800000">
          <a:off x="360309" y="479865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3,5 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479865"/>
        <a:ext cx="1364695" cy="95916"/>
      </dsp:txXfrm>
    </dsp:sp>
    <dsp:sp modelId="{46B86910-D26B-4F95-9827-3ADC43AE18EE}">
      <dsp:nvSpPr>
        <dsp:cNvPr id="0" name=""/>
        <dsp:cNvSpPr/>
      </dsp:nvSpPr>
      <dsp:spPr>
        <a:xfrm>
          <a:off x="339248" y="506764"/>
          <a:ext cx="42120" cy="42119"/>
        </a:xfrm>
        <a:prstGeom prst="ellipse">
          <a:avLst/>
        </a:prstGeom>
        <a:solidFill>
          <a:srgbClr val="7030A0"/>
        </a:solidFill>
        <a:ln w="25400" cap="flat" cmpd="sng" algn="ctr">
          <a:solidFill>
            <a:srgbClr val="7030A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317B56-0599-4F56-A0B7-415975366334}">
      <dsp:nvSpPr>
        <dsp:cNvPr id="0" name=""/>
        <dsp:cNvSpPr/>
      </dsp:nvSpPr>
      <dsp:spPr>
        <a:xfrm rot="10800000">
          <a:off x="360309" y="281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654,0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281"/>
        <a:ext cx="1364695" cy="95916"/>
      </dsp:txXfrm>
    </dsp:sp>
    <dsp:sp modelId="{E17B80E1-7BAB-4E41-A74B-EC1A9DBAD870}">
      <dsp:nvSpPr>
        <dsp:cNvPr id="0" name=""/>
        <dsp:cNvSpPr/>
      </dsp:nvSpPr>
      <dsp:spPr>
        <a:xfrm>
          <a:off x="339248" y="27179"/>
          <a:ext cx="42120" cy="42119"/>
        </a:xfrm>
        <a:prstGeom prst="ellipse">
          <a:avLst/>
        </a:prstGeom>
        <a:solidFill>
          <a:srgbClr val="C00000"/>
        </a:solidFill>
        <a:ln w="25400" cap="flat" cmpd="sng" algn="ctr">
          <a:solidFill>
            <a:srgbClr val="C00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D7E4BD3-B707-4DAE-862C-B2CCAE37C549}">
      <dsp:nvSpPr>
        <dsp:cNvPr id="0" name=""/>
        <dsp:cNvSpPr/>
      </dsp:nvSpPr>
      <dsp:spPr>
        <a:xfrm rot="10800000">
          <a:off x="360309" y="120177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33,12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120177"/>
        <a:ext cx="1364695" cy="95916"/>
      </dsp:txXfrm>
    </dsp:sp>
    <dsp:sp modelId="{185E2DE2-1D5B-4B4D-B945-DFDDF2C33608}">
      <dsp:nvSpPr>
        <dsp:cNvPr id="0" name=""/>
        <dsp:cNvSpPr/>
      </dsp:nvSpPr>
      <dsp:spPr>
        <a:xfrm>
          <a:off x="339248" y="147075"/>
          <a:ext cx="42120" cy="42119"/>
        </a:xfrm>
        <a:prstGeom prst="ellipse">
          <a:avLst/>
        </a:prstGeom>
        <a:solidFill>
          <a:schemeClr val="tx2"/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C97B532-372C-4341-9F51-4EDF589A5E16}">
      <dsp:nvSpPr>
        <dsp:cNvPr id="0" name=""/>
        <dsp:cNvSpPr/>
      </dsp:nvSpPr>
      <dsp:spPr>
        <a:xfrm rot="10800000">
          <a:off x="360309" y="240073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37,38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240073"/>
        <a:ext cx="1364695" cy="95916"/>
      </dsp:txXfrm>
    </dsp:sp>
    <dsp:sp modelId="{F13C8B11-2853-4A6E-A433-AAA58C84128B}">
      <dsp:nvSpPr>
        <dsp:cNvPr id="0" name=""/>
        <dsp:cNvSpPr/>
      </dsp:nvSpPr>
      <dsp:spPr>
        <a:xfrm>
          <a:off x="339248" y="266972"/>
          <a:ext cx="42120" cy="42119"/>
        </a:xfrm>
        <a:prstGeom prst="ellipse">
          <a:avLst/>
        </a:prstGeom>
        <a:solidFill>
          <a:srgbClr val="92D050"/>
        </a:solidFill>
        <a:ln w="25400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4F11791-EE9D-458C-9C0D-8C4DF815BFCA}">
      <dsp:nvSpPr>
        <dsp:cNvPr id="0" name=""/>
        <dsp:cNvSpPr/>
      </dsp:nvSpPr>
      <dsp:spPr>
        <a:xfrm rot="10800000">
          <a:off x="360309" y="359969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- 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359969"/>
        <a:ext cx="1364695" cy="95916"/>
      </dsp:txXfrm>
    </dsp:sp>
    <dsp:sp modelId="{1406A248-9C69-41E6-8D85-0ED4F0938136}">
      <dsp:nvSpPr>
        <dsp:cNvPr id="0" name=""/>
        <dsp:cNvSpPr/>
      </dsp:nvSpPr>
      <dsp:spPr>
        <a:xfrm>
          <a:off x="339248" y="386868"/>
          <a:ext cx="42120" cy="42119"/>
        </a:xfrm>
        <a:prstGeom prst="ellipse">
          <a:avLst/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accent1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0FD797F-4E73-4FC3-B01F-0D74CF9244CE}">
      <dsp:nvSpPr>
        <dsp:cNvPr id="0" name=""/>
        <dsp:cNvSpPr/>
      </dsp:nvSpPr>
      <dsp:spPr>
        <a:xfrm rot="10800000">
          <a:off x="360309" y="479865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2,67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479865"/>
        <a:ext cx="1364695" cy="95916"/>
      </dsp:txXfrm>
    </dsp:sp>
    <dsp:sp modelId="{46B86910-D26B-4F95-9827-3ADC43AE18EE}">
      <dsp:nvSpPr>
        <dsp:cNvPr id="0" name=""/>
        <dsp:cNvSpPr/>
      </dsp:nvSpPr>
      <dsp:spPr>
        <a:xfrm>
          <a:off x="339248" y="506764"/>
          <a:ext cx="42120" cy="42119"/>
        </a:xfrm>
        <a:prstGeom prst="ellipse">
          <a:avLst/>
        </a:prstGeom>
        <a:solidFill>
          <a:srgbClr val="7030A0"/>
        </a:solidFill>
        <a:ln w="25400" cap="flat" cmpd="sng" algn="ctr">
          <a:solidFill>
            <a:srgbClr val="7030A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317B56-0599-4F56-A0B7-415975366334}">
      <dsp:nvSpPr>
        <dsp:cNvPr id="0" name=""/>
        <dsp:cNvSpPr/>
      </dsp:nvSpPr>
      <dsp:spPr>
        <a:xfrm rot="10800000">
          <a:off x="360309" y="281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1045,71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281"/>
        <a:ext cx="1364695" cy="95916"/>
      </dsp:txXfrm>
    </dsp:sp>
    <dsp:sp modelId="{E17B80E1-7BAB-4E41-A74B-EC1A9DBAD870}">
      <dsp:nvSpPr>
        <dsp:cNvPr id="0" name=""/>
        <dsp:cNvSpPr/>
      </dsp:nvSpPr>
      <dsp:spPr>
        <a:xfrm>
          <a:off x="339248" y="27179"/>
          <a:ext cx="42120" cy="42119"/>
        </a:xfrm>
        <a:prstGeom prst="ellipse">
          <a:avLst/>
        </a:prstGeom>
        <a:solidFill>
          <a:srgbClr val="C00000"/>
        </a:solidFill>
        <a:ln w="25400" cap="flat" cmpd="sng" algn="ctr">
          <a:solidFill>
            <a:srgbClr val="C00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D7E4BD3-B707-4DAE-862C-B2CCAE37C549}">
      <dsp:nvSpPr>
        <dsp:cNvPr id="0" name=""/>
        <dsp:cNvSpPr/>
      </dsp:nvSpPr>
      <dsp:spPr>
        <a:xfrm rot="10800000">
          <a:off x="360309" y="120177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22,54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120177"/>
        <a:ext cx="1364695" cy="95916"/>
      </dsp:txXfrm>
    </dsp:sp>
    <dsp:sp modelId="{185E2DE2-1D5B-4B4D-B945-DFDDF2C33608}">
      <dsp:nvSpPr>
        <dsp:cNvPr id="0" name=""/>
        <dsp:cNvSpPr/>
      </dsp:nvSpPr>
      <dsp:spPr>
        <a:xfrm>
          <a:off x="339248" y="147075"/>
          <a:ext cx="42120" cy="42119"/>
        </a:xfrm>
        <a:prstGeom prst="ellipse">
          <a:avLst/>
        </a:prstGeom>
        <a:solidFill>
          <a:schemeClr val="tx2"/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C97B532-372C-4341-9F51-4EDF589A5E16}">
      <dsp:nvSpPr>
        <dsp:cNvPr id="0" name=""/>
        <dsp:cNvSpPr/>
      </dsp:nvSpPr>
      <dsp:spPr>
        <a:xfrm rot="10800000">
          <a:off x="360309" y="240073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26,83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240073"/>
        <a:ext cx="1364695" cy="95916"/>
      </dsp:txXfrm>
    </dsp:sp>
    <dsp:sp modelId="{F13C8B11-2853-4A6E-A433-AAA58C84128B}">
      <dsp:nvSpPr>
        <dsp:cNvPr id="0" name=""/>
        <dsp:cNvSpPr/>
      </dsp:nvSpPr>
      <dsp:spPr>
        <a:xfrm>
          <a:off x="339248" y="266972"/>
          <a:ext cx="42120" cy="42119"/>
        </a:xfrm>
        <a:prstGeom prst="ellipse">
          <a:avLst/>
        </a:prstGeom>
        <a:solidFill>
          <a:srgbClr val="92D050"/>
        </a:solidFill>
        <a:ln w="25400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4F11791-EE9D-458C-9C0D-8C4DF815BFCA}">
      <dsp:nvSpPr>
        <dsp:cNvPr id="0" name=""/>
        <dsp:cNvSpPr/>
      </dsp:nvSpPr>
      <dsp:spPr>
        <a:xfrm rot="10800000">
          <a:off x="360309" y="359969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kk-KZ" sz="800" b="1" kern="1200" dirty="0" smtClean="0">
              <a:ln>
                <a:noFill/>
              </a:ln>
              <a:solidFill>
                <a:schemeClr val="tx1"/>
              </a:solidFill>
            </a:rPr>
            <a:t>7,11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359969"/>
        <a:ext cx="1364695" cy="95916"/>
      </dsp:txXfrm>
    </dsp:sp>
    <dsp:sp modelId="{1406A248-9C69-41E6-8D85-0ED4F0938136}">
      <dsp:nvSpPr>
        <dsp:cNvPr id="0" name=""/>
        <dsp:cNvSpPr/>
      </dsp:nvSpPr>
      <dsp:spPr>
        <a:xfrm>
          <a:off x="339248" y="386868"/>
          <a:ext cx="42120" cy="42119"/>
        </a:xfrm>
        <a:prstGeom prst="ellipse">
          <a:avLst/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accent1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0FD797F-4E73-4FC3-B01F-0D74CF9244CE}">
      <dsp:nvSpPr>
        <dsp:cNvPr id="0" name=""/>
        <dsp:cNvSpPr/>
      </dsp:nvSpPr>
      <dsp:spPr>
        <a:xfrm rot="10800000">
          <a:off x="398136" y="479865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kk-KZ" sz="800" b="1" kern="1200" dirty="0" smtClean="0">
              <a:ln>
                <a:noFill/>
              </a:ln>
              <a:solidFill>
                <a:schemeClr val="tx1"/>
              </a:solidFill>
            </a:rPr>
            <a:t>2,78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422115" y="479865"/>
        <a:ext cx="1364695" cy="95916"/>
      </dsp:txXfrm>
    </dsp:sp>
    <dsp:sp modelId="{46B86910-D26B-4F95-9827-3ADC43AE18EE}">
      <dsp:nvSpPr>
        <dsp:cNvPr id="0" name=""/>
        <dsp:cNvSpPr/>
      </dsp:nvSpPr>
      <dsp:spPr>
        <a:xfrm>
          <a:off x="339248" y="506764"/>
          <a:ext cx="42120" cy="42119"/>
        </a:xfrm>
        <a:prstGeom prst="ellipse">
          <a:avLst/>
        </a:prstGeom>
        <a:solidFill>
          <a:srgbClr val="7030A0"/>
        </a:solidFill>
        <a:ln w="25400" cap="flat" cmpd="sng" algn="ctr">
          <a:solidFill>
            <a:srgbClr val="7030A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317B56-0599-4F56-A0B7-415975366334}">
      <dsp:nvSpPr>
        <dsp:cNvPr id="0" name=""/>
        <dsp:cNvSpPr/>
      </dsp:nvSpPr>
      <dsp:spPr>
        <a:xfrm rot="10800000">
          <a:off x="360309" y="281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1080,97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281"/>
        <a:ext cx="1364695" cy="95916"/>
      </dsp:txXfrm>
    </dsp:sp>
    <dsp:sp modelId="{E17B80E1-7BAB-4E41-A74B-EC1A9DBAD870}">
      <dsp:nvSpPr>
        <dsp:cNvPr id="0" name=""/>
        <dsp:cNvSpPr/>
      </dsp:nvSpPr>
      <dsp:spPr>
        <a:xfrm>
          <a:off x="339248" y="27179"/>
          <a:ext cx="42120" cy="42119"/>
        </a:xfrm>
        <a:prstGeom prst="ellipse">
          <a:avLst/>
        </a:prstGeom>
        <a:solidFill>
          <a:srgbClr val="C00000"/>
        </a:solidFill>
        <a:ln w="25400" cap="flat" cmpd="sng" algn="ctr">
          <a:solidFill>
            <a:srgbClr val="C00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D7E4BD3-B707-4DAE-862C-B2CCAE37C549}">
      <dsp:nvSpPr>
        <dsp:cNvPr id="0" name=""/>
        <dsp:cNvSpPr/>
      </dsp:nvSpPr>
      <dsp:spPr>
        <a:xfrm rot="10800000">
          <a:off x="360309" y="120177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32,35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120177"/>
        <a:ext cx="1364695" cy="95916"/>
      </dsp:txXfrm>
    </dsp:sp>
    <dsp:sp modelId="{185E2DE2-1D5B-4B4D-B945-DFDDF2C33608}">
      <dsp:nvSpPr>
        <dsp:cNvPr id="0" name=""/>
        <dsp:cNvSpPr/>
      </dsp:nvSpPr>
      <dsp:spPr>
        <a:xfrm>
          <a:off x="339248" y="147075"/>
          <a:ext cx="42120" cy="42119"/>
        </a:xfrm>
        <a:prstGeom prst="ellipse">
          <a:avLst/>
        </a:prstGeom>
        <a:solidFill>
          <a:schemeClr val="tx2"/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C97B532-372C-4341-9F51-4EDF589A5E16}">
      <dsp:nvSpPr>
        <dsp:cNvPr id="0" name=""/>
        <dsp:cNvSpPr/>
      </dsp:nvSpPr>
      <dsp:spPr>
        <a:xfrm rot="10800000">
          <a:off x="360309" y="240073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33,57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240073"/>
        <a:ext cx="1364695" cy="95916"/>
      </dsp:txXfrm>
    </dsp:sp>
    <dsp:sp modelId="{F13C8B11-2853-4A6E-A433-AAA58C84128B}">
      <dsp:nvSpPr>
        <dsp:cNvPr id="0" name=""/>
        <dsp:cNvSpPr/>
      </dsp:nvSpPr>
      <dsp:spPr>
        <a:xfrm>
          <a:off x="339248" y="266972"/>
          <a:ext cx="42120" cy="42119"/>
        </a:xfrm>
        <a:prstGeom prst="ellipse">
          <a:avLst/>
        </a:prstGeom>
        <a:solidFill>
          <a:srgbClr val="92D050"/>
        </a:solidFill>
        <a:ln w="25400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4F11791-EE9D-458C-9C0D-8C4DF815BFCA}">
      <dsp:nvSpPr>
        <dsp:cNvPr id="0" name=""/>
        <dsp:cNvSpPr/>
      </dsp:nvSpPr>
      <dsp:spPr>
        <a:xfrm rot="10800000">
          <a:off x="360309" y="359969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kk-KZ" sz="800" b="1" kern="1200" dirty="0" smtClean="0">
              <a:ln>
                <a:noFill/>
              </a:ln>
              <a:solidFill>
                <a:schemeClr val="tx1"/>
              </a:solidFill>
            </a:rPr>
            <a:t>-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359969"/>
        <a:ext cx="1364695" cy="95916"/>
      </dsp:txXfrm>
    </dsp:sp>
    <dsp:sp modelId="{1406A248-9C69-41E6-8D85-0ED4F0938136}">
      <dsp:nvSpPr>
        <dsp:cNvPr id="0" name=""/>
        <dsp:cNvSpPr/>
      </dsp:nvSpPr>
      <dsp:spPr>
        <a:xfrm>
          <a:off x="339248" y="386868"/>
          <a:ext cx="42120" cy="42119"/>
        </a:xfrm>
        <a:prstGeom prst="ellipse">
          <a:avLst/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accent1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0FD797F-4E73-4FC3-B01F-0D74CF9244CE}">
      <dsp:nvSpPr>
        <dsp:cNvPr id="0" name=""/>
        <dsp:cNvSpPr/>
      </dsp:nvSpPr>
      <dsp:spPr>
        <a:xfrm rot="10800000">
          <a:off x="360309" y="479865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2,37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479865"/>
        <a:ext cx="1364695" cy="95916"/>
      </dsp:txXfrm>
    </dsp:sp>
    <dsp:sp modelId="{46B86910-D26B-4F95-9827-3ADC43AE18EE}">
      <dsp:nvSpPr>
        <dsp:cNvPr id="0" name=""/>
        <dsp:cNvSpPr/>
      </dsp:nvSpPr>
      <dsp:spPr>
        <a:xfrm>
          <a:off x="339248" y="506764"/>
          <a:ext cx="42120" cy="42119"/>
        </a:xfrm>
        <a:prstGeom prst="ellipse">
          <a:avLst/>
        </a:prstGeom>
        <a:solidFill>
          <a:srgbClr val="7030A0"/>
        </a:solidFill>
        <a:ln w="25400" cap="flat" cmpd="sng" algn="ctr">
          <a:solidFill>
            <a:srgbClr val="7030A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317B56-0599-4F56-A0B7-415975366334}">
      <dsp:nvSpPr>
        <dsp:cNvPr id="0" name=""/>
        <dsp:cNvSpPr/>
      </dsp:nvSpPr>
      <dsp:spPr>
        <a:xfrm rot="10800000">
          <a:off x="360309" y="281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1403,0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281"/>
        <a:ext cx="1364695" cy="95916"/>
      </dsp:txXfrm>
    </dsp:sp>
    <dsp:sp modelId="{E17B80E1-7BAB-4E41-A74B-EC1A9DBAD870}">
      <dsp:nvSpPr>
        <dsp:cNvPr id="0" name=""/>
        <dsp:cNvSpPr/>
      </dsp:nvSpPr>
      <dsp:spPr>
        <a:xfrm>
          <a:off x="339248" y="27179"/>
          <a:ext cx="42120" cy="42119"/>
        </a:xfrm>
        <a:prstGeom prst="ellipse">
          <a:avLst/>
        </a:prstGeom>
        <a:solidFill>
          <a:srgbClr val="C00000"/>
        </a:solidFill>
        <a:ln w="25400" cap="flat" cmpd="sng" algn="ctr">
          <a:solidFill>
            <a:srgbClr val="C00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D7E4BD3-B707-4DAE-862C-B2CCAE37C549}">
      <dsp:nvSpPr>
        <dsp:cNvPr id="0" name=""/>
        <dsp:cNvSpPr/>
      </dsp:nvSpPr>
      <dsp:spPr>
        <a:xfrm rot="10800000">
          <a:off x="360309" y="120177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52,57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120177"/>
        <a:ext cx="1364695" cy="95916"/>
      </dsp:txXfrm>
    </dsp:sp>
    <dsp:sp modelId="{185E2DE2-1D5B-4B4D-B945-DFDDF2C33608}">
      <dsp:nvSpPr>
        <dsp:cNvPr id="0" name=""/>
        <dsp:cNvSpPr/>
      </dsp:nvSpPr>
      <dsp:spPr>
        <a:xfrm>
          <a:off x="339248" y="147075"/>
          <a:ext cx="42120" cy="42119"/>
        </a:xfrm>
        <a:prstGeom prst="ellipse">
          <a:avLst/>
        </a:prstGeom>
        <a:solidFill>
          <a:schemeClr val="tx2"/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C97B532-372C-4341-9F51-4EDF589A5E16}">
      <dsp:nvSpPr>
        <dsp:cNvPr id="0" name=""/>
        <dsp:cNvSpPr/>
      </dsp:nvSpPr>
      <dsp:spPr>
        <a:xfrm rot="10800000">
          <a:off x="360309" y="240073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46,24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240073"/>
        <a:ext cx="1364695" cy="95916"/>
      </dsp:txXfrm>
    </dsp:sp>
    <dsp:sp modelId="{F13C8B11-2853-4A6E-A433-AAA58C84128B}">
      <dsp:nvSpPr>
        <dsp:cNvPr id="0" name=""/>
        <dsp:cNvSpPr/>
      </dsp:nvSpPr>
      <dsp:spPr>
        <a:xfrm>
          <a:off x="339248" y="266972"/>
          <a:ext cx="42120" cy="42119"/>
        </a:xfrm>
        <a:prstGeom prst="ellipse">
          <a:avLst/>
        </a:prstGeom>
        <a:solidFill>
          <a:srgbClr val="92D050"/>
        </a:solidFill>
        <a:ln w="25400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4F11791-EE9D-458C-9C0D-8C4DF815BFCA}">
      <dsp:nvSpPr>
        <dsp:cNvPr id="0" name=""/>
        <dsp:cNvSpPr/>
      </dsp:nvSpPr>
      <dsp:spPr>
        <a:xfrm rot="10800000">
          <a:off x="360309" y="359969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kk-KZ" sz="800" b="1" kern="1200" dirty="0" smtClean="0">
              <a:ln>
                <a:noFill/>
              </a:ln>
              <a:solidFill>
                <a:schemeClr val="tx1"/>
              </a:solidFill>
            </a:rPr>
            <a:t>84,24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359969"/>
        <a:ext cx="1364695" cy="95916"/>
      </dsp:txXfrm>
    </dsp:sp>
    <dsp:sp modelId="{1406A248-9C69-41E6-8D85-0ED4F0938136}">
      <dsp:nvSpPr>
        <dsp:cNvPr id="0" name=""/>
        <dsp:cNvSpPr/>
      </dsp:nvSpPr>
      <dsp:spPr>
        <a:xfrm>
          <a:off x="339248" y="386868"/>
          <a:ext cx="42120" cy="42119"/>
        </a:xfrm>
        <a:prstGeom prst="ellipse">
          <a:avLst/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accent1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0FD797F-4E73-4FC3-B01F-0D74CF9244CE}">
      <dsp:nvSpPr>
        <dsp:cNvPr id="0" name=""/>
        <dsp:cNvSpPr/>
      </dsp:nvSpPr>
      <dsp:spPr>
        <a:xfrm rot="10800000">
          <a:off x="360309" y="479865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2,93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479865"/>
        <a:ext cx="1364695" cy="95916"/>
      </dsp:txXfrm>
    </dsp:sp>
    <dsp:sp modelId="{46B86910-D26B-4F95-9827-3ADC43AE18EE}">
      <dsp:nvSpPr>
        <dsp:cNvPr id="0" name=""/>
        <dsp:cNvSpPr/>
      </dsp:nvSpPr>
      <dsp:spPr>
        <a:xfrm>
          <a:off x="339248" y="506764"/>
          <a:ext cx="42120" cy="42119"/>
        </a:xfrm>
        <a:prstGeom prst="ellipse">
          <a:avLst/>
        </a:prstGeom>
        <a:solidFill>
          <a:srgbClr val="7030A0"/>
        </a:solidFill>
        <a:ln w="25400" cap="flat" cmpd="sng" algn="ctr">
          <a:solidFill>
            <a:srgbClr val="7030A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317B56-0599-4F56-A0B7-415975366334}">
      <dsp:nvSpPr>
        <dsp:cNvPr id="0" name=""/>
        <dsp:cNvSpPr/>
      </dsp:nvSpPr>
      <dsp:spPr>
        <a:xfrm rot="10800000">
          <a:off x="360309" y="281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804,0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281"/>
        <a:ext cx="1364695" cy="95916"/>
      </dsp:txXfrm>
    </dsp:sp>
    <dsp:sp modelId="{E17B80E1-7BAB-4E41-A74B-EC1A9DBAD870}">
      <dsp:nvSpPr>
        <dsp:cNvPr id="0" name=""/>
        <dsp:cNvSpPr/>
      </dsp:nvSpPr>
      <dsp:spPr>
        <a:xfrm>
          <a:off x="339248" y="27179"/>
          <a:ext cx="42120" cy="42119"/>
        </a:xfrm>
        <a:prstGeom prst="ellipse">
          <a:avLst/>
        </a:prstGeom>
        <a:solidFill>
          <a:srgbClr val="C00000"/>
        </a:solidFill>
        <a:ln w="25400" cap="flat" cmpd="sng" algn="ctr">
          <a:solidFill>
            <a:srgbClr val="C00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D7E4BD3-B707-4DAE-862C-B2CCAE37C549}">
      <dsp:nvSpPr>
        <dsp:cNvPr id="0" name=""/>
        <dsp:cNvSpPr/>
      </dsp:nvSpPr>
      <dsp:spPr>
        <a:xfrm rot="10800000">
          <a:off x="360309" y="120177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49,0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120177"/>
        <a:ext cx="1364695" cy="95916"/>
      </dsp:txXfrm>
    </dsp:sp>
    <dsp:sp modelId="{185E2DE2-1D5B-4B4D-B945-DFDDF2C33608}">
      <dsp:nvSpPr>
        <dsp:cNvPr id="0" name=""/>
        <dsp:cNvSpPr/>
      </dsp:nvSpPr>
      <dsp:spPr>
        <a:xfrm>
          <a:off x="339248" y="147075"/>
          <a:ext cx="42120" cy="42119"/>
        </a:xfrm>
        <a:prstGeom prst="ellipse">
          <a:avLst/>
        </a:prstGeom>
        <a:solidFill>
          <a:schemeClr val="tx2"/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C97B532-372C-4341-9F51-4EDF589A5E16}">
      <dsp:nvSpPr>
        <dsp:cNvPr id="0" name=""/>
        <dsp:cNvSpPr/>
      </dsp:nvSpPr>
      <dsp:spPr>
        <a:xfrm rot="10800000">
          <a:off x="360309" y="240073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47,45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240073"/>
        <a:ext cx="1364695" cy="95916"/>
      </dsp:txXfrm>
    </dsp:sp>
    <dsp:sp modelId="{F13C8B11-2853-4A6E-A433-AAA58C84128B}">
      <dsp:nvSpPr>
        <dsp:cNvPr id="0" name=""/>
        <dsp:cNvSpPr/>
      </dsp:nvSpPr>
      <dsp:spPr>
        <a:xfrm>
          <a:off x="339248" y="266972"/>
          <a:ext cx="42120" cy="42119"/>
        </a:xfrm>
        <a:prstGeom prst="ellipse">
          <a:avLst/>
        </a:prstGeom>
        <a:solidFill>
          <a:srgbClr val="92D050"/>
        </a:solidFill>
        <a:ln w="25400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4F11791-EE9D-458C-9C0D-8C4DF815BFCA}">
      <dsp:nvSpPr>
        <dsp:cNvPr id="0" name=""/>
        <dsp:cNvSpPr/>
      </dsp:nvSpPr>
      <dsp:spPr>
        <a:xfrm rot="10800000">
          <a:off x="360309" y="359969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2,62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359969"/>
        <a:ext cx="1364695" cy="95916"/>
      </dsp:txXfrm>
    </dsp:sp>
    <dsp:sp modelId="{1406A248-9C69-41E6-8D85-0ED4F0938136}">
      <dsp:nvSpPr>
        <dsp:cNvPr id="0" name=""/>
        <dsp:cNvSpPr/>
      </dsp:nvSpPr>
      <dsp:spPr>
        <a:xfrm>
          <a:off x="339248" y="386868"/>
          <a:ext cx="42120" cy="42119"/>
        </a:xfrm>
        <a:prstGeom prst="ellipse">
          <a:avLst/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accent1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0FD797F-4E73-4FC3-B01F-0D74CF9244CE}">
      <dsp:nvSpPr>
        <dsp:cNvPr id="0" name=""/>
        <dsp:cNvSpPr/>
      </dsp:nvSpPr>
      <dsp:spPr>
        <a:xfrm rot="10800000">
          <a:off x="360309" y="479865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3,58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479865"/>
        <a:ext cx="1364695" cy="95916"/>
      </dsp:txXfrm>
    </dsp:sp>
    <dsp:sp modelId="{46B86910-D26B-4F95-9827-3ADC43AE18EE}">
      <dsp:nvSpPr>
        <dsp:cNvPr id="0" name=""/>
        <dsp:cNvSpPr/>
      </dsp:nvSpPr>
      <dsp:spPr>
        <a:xfrm>
          <a:off x="339248" y="506764"/>
          <a:ext cx="42120" cy="42119"/>
        </a:xfrm>
        <a:prstGeom prst="ellipse">
          <a:avLst/>
        </a:prstGeom>
        <a:solidFill>
          <a:srgbClr val="7030A0"/>
        </a:solidFill>
        <a:ln w="25400" cap="flat" cmpd="sng" algn="ctr">
          <a:solidFill>
            <a:srgbClr val="7030A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317B56-0599-4F56-A0B7-415975366334}">
      <dsp:nvSpPr>
        <dsp:cNvPr id="0" name=""/>
        <dsp:cNvSpPr/>
      </dsp:nvSpPr>
      <dsp:spPr>
        <a:xfrm rot="10800000">
          <a:off x="360309" y="281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kk-KZ" sz="800" b="1" kern="1200" dirty="0" smtClean="0">
              <a:ln>
                <a:noFill/>
              </a:ln>
              <a:solidFill>
                <a:schemeClr val="tx1"/>
              </a:solidFill>
            </a:rPr>
            <a:t>885,33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281"/>
        <a:ext cx="1364695" cy="95916"/>
      </dsp:txXfrm>
    </dsp:sp>
    <dsp:sp modelId="{E17B80E1-7BAB-4E41-A74B-EC1A9DBAD870}">
      <dsp:nvSpPr>
        <dsp:cNvPr id="0" name=""/>
        <dsp:cNvSpPr/>
      </dsp:nvSpPr>
      <dsp:spPr>
        <a:xfrm>
          <a:off x="339248" y="27179"/>
          <a:ext cx="42120" cy="42119"/>
        </a:xfrm>
        <a:prstGeom prst="ellipse">
          <a:avLst/>
        </a:prstGeom>
        <a:solidFill>
          <a:srgbClr val="C00000"/>
        </a:solidFill>
        <a:ln w="25400" cap="flat" cmpd="sng" algn="ctr">
          <a:solidFill>
            <a:srgbClr val="C00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D7E4BD3-B707-4DAE-862C-B2CCAE37C549}">
      <dsp:nvSpPr>
        <dsp:cNvPr id="0" name=""/>
        <dsp:cNvSpPr/>
      </dsp:nvSpPr>
      <dsp:spPr>
        <a:xfrm rot="10800000">
          <a:off x="360309" y="120177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kk-KZ" sz="800" b="1" kern="1200" dirty="0" smtClean="0">
              <a:ln>
                <a:noFill/>
              </a:ln>
              <a:solidFill>
                <a:schemeClr val="tx1"/>
              </a:solidFill>
            </a:rPr>
            <a:t>28,0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120177"/>
        <a:ext cx="1364695" cy="95916"/>
      </dsp:txXfrm>
    </dsp:sp>
    <dsp:sp modelId="{185E2DE2-1D5B-4B4D-B945-DFDDF2C33608}">
      <dsp:nvSpPr>
        <dsp:cNvPr id="0" name=""/>
        <dsp:cNvSpPr/>
      </dsp:nvSpPr>
      <dsp:spPr>
        <a:xfrm>
          <a:off x="339248" y="147075"/>
          <a:ext cx="42120" cy="42119"/>
        </a:xfrm>
        <a:prstGeom prst="ellipse">
          <a:avLst/>
        </a:prstGeom>
        <a:solidFill>
          <a:schemeClr val="tx2"/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C97B532-372C-4341-9F51-4EDF589A5E16}">
      <dsp:nvSpPr>
        <dsp:cNvPr id="0" name=""/>
        <dsp:cNvSpPr/>
      </dsp:nvSpPr>
      <dsp:spPr>
        <a:xfrm rot="10800000">
          <a:off x="360309" y="240073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21,48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240073"/>
        <a:ext cx="1364695" cy="95916"/>
      </dsp:txXfrm>
    </dsp:sp>
    <dsp:sp modelId="{F13C8B11-2853-4A6E-A433-AAA58C84128B}">
      <dsp:nvSpPr>
        <dsp:cNvPr id="0" name=""/>
        <dsp:cNvSpPr/>
      </dsp:nvSpPr>
      <dsp:spPr>
        <a:xfrm>
          <a:off x="339248" y="266972"/>
          <a:ext cx="42120" cy="42119"/>
        </a:xfrm>
        <a:prstGeom prst="ellipse">
          <a:avLst/>
        </a:prstGeom>
        <a:solidFill>
          <a:srgbClr val="92D050"/>
        </a:solidFill>
        <a:ln w="25400" cap="flat" cmpd="sng" algn="ctr">
          <a:solidFill>
            <a:srgbClr val="92D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4F11791-EE9D-458C-9C0D-8C4DF815BFCA}">
      <dsp:nvSpPr>
        <dsp:cNvPr id="0" name=""/>
        <dsp:cNvSpPr/>
      </dsp:nvSpPr>
      <dsp:spPr>
        <a:xfrm rot="10800000">
          <a:off x="360309" y="359969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4,40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359969"/>
        <a:ext cx="1364695" cy="95916"/>
      </dsp:txXfrm>
    </dsp:sp>
    <dsp:sp modelId="{1406A248-9C69-41E6-8D85-0ED4F0938136}">
      <dsp:nvSpPr>
        <dsp:cNvPr id="0" name=""/>
        <dsp:cNvSpPr/>
      </dsp:nvSpPr>
      <dsp:spPr>
        <a:xfrm>
          <a:off x="339248" y="386868"/>
          <a:ext cx="42120" cy="42119"/>
        </a:xfrm>
        <a:prstGeom prst="ellipse">
          <a:avLst/>
        </a:prstGeom>
        <a:solidFill>
          <a:schemeClr val="accent1">
            <a:lumMod val="60000"/>
            <a:lumOff val="40000"/>
          </a:schemeClr>
        </a:solidFill>
        <a:ln w="25400" cap="flat" cmpd="sng" algn="ctr">
          <a:solidFill>
            <a:schemeClr val="accent1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0FD797F-4E73-4FC3-B01F-0D74CF9244CE}">
      <dsp:nvSpPr>
        <dsp:cNvPr id="0" name=""/>
        <dsp:cNvSpPr/>
      </dsp:nvSpPr>
      <dsp:spPr>
        <a:xfrm rot="10800000">
          <a:off x="360309" y="479865"/>
          <a:ext cx="1388674" cy="95916"/>
        </a:xfrm>
        <a:prstGeom prst="homePlat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297" tIns="30480" rIns="56896" bIns="30480" numCol="1" spcCol="1270" anchor="ctr" anchorCtr="0">
          <a:noAutofit/>
        </a:bodyPr>
        <a:lstStyle/>
        <a:p>
          <a:pPr lvl="0" algn="l" defTabSz="3556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n>
                <a:noFill/>
              </a:ln>
              <a:solidFill>
                <a:schemeClr val="tx1"/>
              </a:solidFill>
            </a:rPr>
            <a:t>3,71</a:t>
          </a:r>
          <a:endParaRPr lang="ru-RU" sz="800" b="1" kern="1200" dirty="0">
            <a:ln>
              <a:noFill/>
            </a:ln>
            <a:solidFill>
              <a:schemeClr val="tx1"/>
            </a:solidFill>
          </a:endParaRPr>
        </a:p>
      </dsp:txBody>
      <dsp:txXfrm rot="10800000">
        <a:off x="384288" y="479865"/>
        <a:ext cx="1364695" cy="95916"/>
      </dsp:txXfrm>
    </dsp:sp>
    <dsp:sp modelId="{46B86910-D26B-4F95-9827-3ADC43AE18EE}">
      <dsp:nvSpPr>
        <dsp:cNvPr id="0" name=""/>
        <dsp:cNvSpPr/>
      </dsp:nvSpPr>
      <dsp:spPr>
        <a:xfrm>
          <a:off x="339248" y="506764"/>
          <a:ext cx="42120" cy="42119"/>
        </a:xfrm>
        <a:prstGeom prst="ellipse">
          <a:avLst/>
        </a:prstGeom>
        <a:solidFill>
          <a:srgbClr val="7030A0"/>
        </a:solidFill>
        <a:ln w="25400" cap="flat" cmpd="sng" algn="ctr">
          <a:solidFill>
            <a:srgbClr val="7030A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25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25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BE8E1E-8C96-49E4-AEEB-CBE194EE4738}" type="datetimeFigureOut">
              <a:rPr lang="ru-RU" smtClean="0"/>
              <a:t>30.06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4538"/>
            <a:ext cx="4959350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4399"/>
            <a:ext cx="5438140" cy="446627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7075"/>
            <a:ext cx="2945659" cy="49625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7075"/>
            <a:ext cx="2945659" cy="49625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753B88-A8C5-42B2-8CA9-30599D7DAD7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484120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45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90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35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81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26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71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16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61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7B466-51AE-4267-94CB-F89ED1D1FDEE}" type="datetimeFigureOut">
              <a:rPr lang="ru-RU" smtClean="0"/>
              <a:t>30.06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089CF6-A6CC-44A4-9DC5-58CE9384EC4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29228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7B466-51AE-4267-94CB-F89ED1D1FDEE}" type="datetimeFigureOut">
              <a:rPr lang="ru-RU" smtClean="0"/>
              <a:t>30.06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089CF6-A6CC-44A4-9DC5-58CE9384EC4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94249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7B466-51AE-4267-94CB-F89ED1D1FDEE}" type="datetimeFigureOut">
              <a:rPr lang="ru-RU" smtClean="0"/>
              <a:t>30.06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089CF6-A6CC-44A4-9DC5-58CE9384EC4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512341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7B466-51AE-4267-94CB-F89ED1D1FDEE}" type="datetimeFigureOut">
              <a:rPr lang="ru-RU" smtClean="0"/>
              <a:t>30.06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089CF6-A6CC-44A4-9DC5-58CE9384EC4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91779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4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3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1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6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7B466-51AE-4267-94CB-F89ED1D1FDEE}" type="datetimeFigureOut">
              <a:rPr lang="ru-RU" smtClean="0"/>
              <a:t>30.06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089CF6-A6CC-44A4-9DC5-58CE9384EC4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84932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7B466-51AE-4267-94CB-F89ED1D1FDEE}" type="datetimeFigureOut">
              <a:rPr lang="ru-RU" smtClean="0"/>
              <a:t>30.06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089CF6-A6CC-44A4-9DC5-58CE9384EC4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0342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7B466-51AE-4267-94CB-F89ED1D1FDEE}" type="datetimeFigureOut">
              <a:rPr lang="ru-RU" smtClean="0"/>
              <a:t>30.06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089CF6-A6CC-44A4-9DC5-58CE9384EC4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62553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7B466-51AE-4267-94CB-F89ED1D1FDEE}" type="datetimeFigureOut">
              <a:rPr lang="ru-RU" smtClean="0"/>
              <a:t>30.06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089CF6-A6CC-44A4-9DC5-58CE9384EC4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102961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7B466-51AE-4267-94CB-F89ED1D1FDEE}" type="datetimeFigureOut">
              <a:rPr lang="ru-RU" smtClean="0"/>
              <a:t>30.06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089CF6-A6CC-44A4-9DC5-58CE9384EC4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79101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7B466-51AE-4267-94CB-F89ED1D1FDEE}" type="datetimeFigureOut">
              <a:rPr lang="ru-RU" smtClean="0"/>
              <a:t>30.06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089CF6-A6CC-44A4-9DC5-58CE9384EC4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96782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1" indent="0">
              <a:buNone/>
              <a:defRPr sz="2000"/>
            </a:lvl5pPr>
            <a:lvl6pPr marL="2285726" indent="0">
              <a:buNone/>
              <a:defRPr sz="2000"/>
            </a:lvl6pPr>
            <a:lvl7pPr marL="2742871" indent="0">
              <a:buNone/>
              <a:defRPr sz="2000"/>
            </a:lvl7pPr>
            <a:lvl8pPr marL="3200016" indent="0">
              <a:buNone/>
              <a:defRPr sz="2000"/>
            </a:lvl8pPr>
            <a:lvl9pPr marL="3657161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7B466-51AE-4267-94CB-F89ED1D1FDEE}" type="datetimeFigureOut">
              <a:rPr lang="ru-RU" smtClean="0"/>
              <a:t>30.06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089CF6-A6CC-44A4-9DC5-58CE9384EC4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39664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29" tIns="45715" rIns="91429" bIns="45715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29" tIns="45715" rIns="91429" bIns="45715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29" tIns="45715" rIns="91429" bIns="45715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47B466-51AE-4267-94CB-F89ED1D1FDEE}" type="datetimeFigureOut">
              <a:rPr lang="ru-RU" smtClean="0"/>
              <a:t>30.06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29" tIns="45715" rIns="91429" bIns="45715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29" tIns="45715" rIns="91429" bIns="45715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089CF6-A6CC-44A4-9DC5-58CE9384EC4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70755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29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59" indent="-342859" algn="l" defTabSz="91429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61" indent="-285716" algn="l" defTabSz="91429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63" indent="-228573" algn="l" defTabSz="91429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08" indent="-228573" algn="l" defTabSz="91429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53" indent="-228573" algn="l" defTabSz="91429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298" indent="-228573" algn="l" defTabSz="9142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43" indent="-228573" algn="l" defTabSz="9142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89" indent="-228573" algn="l" defTabSz="9142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34" indent="-228573" algn="l" defTabSz="9142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diagramData" Target="../diagrams/data3.xml"/><Relationship Id="rId18" Type="http://schemas.openxmlformats.org/officeDocument/2006/relationships/diagramData" Target="../diagrams/data4.xml"/><Relationship Id="rId26" Type="http://schemas.openxmlformats.org/officeDocument/2006/relationships/diagramColors" Target="../diagrams/colors5.xml"/><Relationship Id="rId39" Type="http://schemas.openxmlformats.org/officeDocument/2006/relationships/diagramLayout" Target="../diagrams/layout8.xml"/><Relationship Id="rId21" Type="http://schemas.openxmlformats.org/officeDocument/2006/relationships/diagramColors" Target="../diagrams/colors4.xml"/><Relationship Id="rId34" Type="http://schemas.openxmlformats.org/officeDocument/2006/relationships/diagramLayout" Target="../diagrams/layout7.xml"/><Relationship Id="rId42" Type="http://schemas.microsoft.com/office/2007/relationships/diagramDrawing" Target="../diagrams/drawing8.xml"/><Relationship Id="rId47" Type="http://schemas.microsoft.com/office/2007/relationships/diagramDrawing" Target="../diagrams/drawing9.xml"/><Relationship Id="rId50" Type="http://schemas.openxmlformats.org/officeDocument/2006/relationships/diagramQuickStyle" Target="../diagrams/quickStyle10.xml"/><Relationship Id="rId55" Type="http://schemas.openxmlformats.org/officeDocument/2006/relationships/diagramQuickStyle" Target="../diagrams/quickStyle11.xml"/><Relationship Id="rId63" Type="http://schemas.openxmlformats.org/officeDocument/2006/relationships/diagramData" Target="../diagrams/data13.xml"/><Relationship Id="rId68" Type="http://schemas.openxmlformats.org/officeDocument/2006/relationships/diagramData" Target="../diagrams/data14.xml"/><Relationship Id="rId76" Type="http://schemas.openxmlformats.org/officeDocument/2006/relationships/diagramColors" Target="../diagrams/colors15.xml"/><Relationship Id="rId84" Type="http://schemas.openxmlformats.org/officeDocument/2006/relationships/diagramLayout" Target="../diagrams/layout17.xml"/><Relationship Id="rId89" Type="http://schemas.openxmlformats.org/officeDocument/2006/relationships/diagramLayout" Target="../diagrams/layout18.xml"/><Relationship Id="rId7" Type="http://schemas.microsoft.com/office/2007/relationships/diagramDrawing" Target="../diagrams/drawing1.xml"/><Relationship Id="rId71" Type="http://schemas.openxmlformats.org/officeDocument/2006/relationships/diagramColors" Target="../diagrams/colors14.xml"/><Relationship Id="rId92" Type="http://schemas.microsoft.com/office/2007/relationships/diagramDrawing" Target="../diagrams/drawing18.xml"/><Relationship Id="rId2" Type="http://schemas.openxmlformats.org/officeDocument/2006/relationships/slideLayout" Target="../slideLayouts/slideLayout7.xml"/><Relationship Id="rId16" Type="http://schemas.openxmlformats.org/officeDocument/2006/relationships/diagramColors" Target="../diagrams/colors3.xml"/><Relationship Id="rId29" Type="http://schemas.openxmlformats.org/officeDocument/2006/relationships/diagramLayout" Target="../diagrams/layout6.xml"/><Relationship Id="rId11" Type="http://schemas.openxmlformats.org/officeDocument/2006/relationships/diagramColors" Target="../diagrams/colors2.xml"/><Relationship Id="rId24" Type="http://schemas.openxmlformats.org/officeDocument/2006/relationships/diagramLayout" Target="../diagrams/layout5.xml"/><Relationship Id="rId32" Type="http://schemas.microsoft.com/office/2007/relationships/diagramDrawing" Target="../diagrams/drawing6.xml"/><Relationship Id="rId37" Type="http://schemas.microsoft.com/office/2007/relationships/diagramDrawing" Target="../diagrams/drawing7.xml"/><Relationship Id="rId40" Type="http://schemas.openxmlformats.org/officeDocument/2006/relationships/diagramQuickStyle" Target="../diagrams/quickStyle8.xml"/><Relationship Id="rId45" Type="http://schemas.openxmlformats.org/officeDocument/2006/relationships/diagramQuickStyle" Target="../diagrams/quickStyle9.xml"/><Relationship Id="rId53" Type="http://schemas.openxmlformats.org/officeDocument/2006/relationships/diagramData" Target="../diagrams/data11.xml"/><Relationship Id="rId58" Type="http://schemas.openxmlformats.org/officeDocument/2006/relationships/diagramData" Target="../diagrams/data12.xml"/><Relationship Id="rId66" Type="http://schemas.openxmlformats.org/officeDocument/2006/relationships/diagramColors" Target="../diagrams/colors13.xml"/><Relationship Id="rId74" Type="http://schemas.openxmlformats.org/officeDocument/2006/relationships/diagramLayout" Target="../diagrams/layout15.xml"/><Relationship Id="rId79" Type="http://schemas.openxmlformats.org/officeDocument/2006/relationships/diagramLayout" Target="../diagrams/layout16.xml"/><Relationship Id="rId87" Type="http://schemas.microsoft.com/office/2007/relationships/diagramDrawing" Target="../diagrams/drawing17.xml"/><Relationship Id="rId5" Type="http://schemas.openxmlformats.org/officeDocument/2006/relationships/diagramQuickStyle" Target="../diagrams/quickStyle1.xml"/><Relationship Id="rId61" Type="http://schemas.openxmlformats.org/officeDocument/2006/relationships/diagramColors" Target="../diagrams/colors12.xml"/><Relationship Id="rId82" Type="http://schemas.microsoft.com/office/2007/relationships/diagramDrawing" Target="../diagrams/drawing16.xml"/><Relationship Id="rId90" Type="http://schemas.openxmlformats.org/officeDocument/2006/relationships/diagramQuickStyle" Target="../diagrams/quickStyle18.xml"/><Relationship Id="rId19" Type="http://schemas.openxmlformats.org/officeDocument/2006/relationships/diagramLayout" Target="../diagrams/layout4.xml"/><Relationship Id="rId14" Type="http://schemas.openxmlformats.org/officeDocument/2006/relationships/diagramLayout" Target="../diagrams/layout3.xml"/><Relationship Id="rId22" Type="http://schemas.microsoft.com/office/2007/relationships/diagramDrawing" Target="../diagrams/drawing4.xml"/><Relationship Id="rId27" Type="http://schemas.microsoft.com/office/2007/relationships/diagramDrawing" Target="../diagrams/drawing5.xml"/><Relationship Id="rId30" Type="http://schemas.openxmlformats.org/officeDocument/2006/relationships/diagramQuickStyle" Target="../diagrams/quickStyle6.xml"/><Relationship Id="rId35" Type="http://schemas.openxmlformats.org/officeDocument/2006/relationships/diagramQuickStyle" Target="../diagrams/quickStyle7.xml"/><Relationship Id="rId43" Type="http://schemas.openxmlformats.org/officeDocument/2006/relationships/diagramData" Target="../diagrams/data9.xml"/><Relationship Id="rId48" Type="http://schemas.openxmlformats.org/officeDocument/2006/relationships/diagramData" Target="../diagrams/data10.xml"/><Relationship Id="rId56" Type="http://schemas.openxmlformats.org/officeDocument/2006/relationships/diagramColors" Target="../diagrams/colors11.xml"/><Relationship Id="rId64" Type="http://schemas.openxmlformats.org/officeDocument/2006/relationships/diagramLayout" Target="../diagrams/layout13.xml"/><Relationship Id="rId69" Type="http://schemas.openxmlformats.org/officeDocument/2006/relationships/diagramLayout" Target="../diagrams/layout14.xml"/><Relationship Id="rId77" Type="http://schemas.microsoft.com/office/2007/relationships/diagramDrawing" Target="../diagrams/drawing15.xml"/><Relationship Id="rId8" Type="http://schemas.openxmlformats.org/officeDocument/2006/relationships/diagramData" Target="../diagrams/data2.xml"/><Relationship Id="rId51" Type="http://schemas.openxmlformats.org/officeDocument/2006/relationships/diagramColors" Target="../diagrams/colors10.xml"/><Relationship Id="rId72" Type="http://schemas.microsoft.com/office/2007/relationships/diagramDrawing" Target="../diagrams/drawing14.xml"/><Relationship Id="rId80" Type="http://schemas.openxmlformats.org/officeDocument/2006/relationships/diagramQuickStyle" Target="../diagrams/quickStyle16.xml"/><Relationship Id="rId85" Type="http://schemas.openxmlformats.org/officeDocument/2006/relationships/diagramQuickStyle" Target="../diagrams/quickStyle17.xml"/><Relationship Id="rId3" Type="http://schemas.openxmlformats.org/officeDocument/2006/relationships/diagramData" Target="../diagrams/data1.xml"/><Relationship Id="rId12" Type="http://schemas.microsoft.com/office/2007/relationships/diagramDrawing" Target="../diagrams/drawing2.xml"/><Relationship Id="rId17" Type="http://schemas.microsoft.com/office/2007/relationships/diagramDrawing" Target="../diagrams/drawing3.xml"/><Relationship Id="rId25" Type="http://schemas.openxmlformats.org/officeDocument/2006/relationships/diagramQuickStyle" Target="../diagrams/quickStyle5.xml"/><Relationship Id="rId33" Type="http://schemas.openxmlformats.org/officeDocument/2006/relationships/diagramData" Target="../diagrams/data7.xml"/><Relationship Id="rId38" Type="http://schemas.openxmlformats.org/officeDocument/2006/relationships/diagramData" Target="../diagrams/data8.xml"/><Relationship Id="rId46" Type="http://schemas.openxmlformats.org/officeDocument/2006/relationships/diagramColors" Target="../diagrams/colors9.xml"/><Relationship Id="rId59" Type="http://schemas.openxmlformats.org/officeDocument/2006/relationships/diagramLayout" Target="../diagrams/layout12.xml"/><Relationship Id="rId67" Type="http://schemas.microsoft.com/office/2007/relationships/diagramDrawing" Target="../diagrams/drawing13.xml"/><Relationship Id="rId20" Type="http://schemas.openxmlformats.org/officeDocument/2006/relationships/diagramQuickStyle" Target="../diagrams/quickStyle4.xml"/><Relationship Id="rId41" Type="http://schemas.openxmlformats.org/officeDocument/2006/relationships/diagramColors" Target="../diagrams/colors8.xml"/><Relationship Id="rId54" Type="http://schemas.openxmlformats.org/officeDocument/2006/relationships/diagramLayout" Target="../diagrams/layout11.xml"/><Relationship Id="rId62" Type="http://schemas.microsoft.com/office/2007/relationships/diagramDrawing" Target="../diagrams/drawing12.xml"/><Relationship Id="rId70" Type="http://schemas.openxmlformats.org/officeDocument/2006/relationships/diagramQuickStyle" Target="../diagrams/quickStyle14.xml"/><Relationship Id="rId75" Type="http://schemas.openxmlformats.org/officeDocument/2006/relationships/diagramQuickStyle" Target="../diagrams/quickStyle15.xml"/><Relationship Id="rId83" Type="http://schemas.openxmlformats.org/officeDocument/2006/relationships/diagramData" Target="../diagrams/data17.xml"/><Relationship Id="rId88" Type="http://schemas.openxmlformats.org/officeDocument/2006/relationships/diagramData" Target="../diagrams/data18.xml"/><Relationship Id="rId91" Type="http://schemas.openxmlformats.org/officeDocument/2006/relationships/diagramColors" Target="../diagrams/colors18.xml"/><Relationship Id="rId1" Type="http://schemas.openxmlformats.org/officeDocument/2006/relationships/tags" Target="../tags/tag1.xml"/><Relationship Id="rId6" Type="http://schemas.openxmlformats.org/officeDocument/2006/relationships/diagramColors" Target="../diagrams/colors1.xml"/><Relationship Id="rId15" Type="http://schemas.openxmlformats.org/officeDocument/2006/relationships/diagramQuickStyle" Target="../diagrams/quickStyle3.xml"/><Relationship Id="rId23" Type="http://schemas.openxmlformats.org/officeDocument/2006/relationships/diagramData" Target="../diagrams/data5.xml"/><Relationship Id="rId28" Type="http://schemas.openxmlformats.org/officeDocument/2006/relationships/diagramData" Target="../diagrams/data6.xml"/><Relationship Id="rId36" Type="http://schemas.openxmlformats.org/officeDocument/2006/relationships/diagramColors" Target="../diagrams/colors7.xml"/><Relationship Id="rId49" Type="http://schemas.openxmlformats.org/officeDocument/2006/relationships/diagramLayout" Target="../diagrams/layout10.xml"/><Relationship Id="rId57" Type="http://schemas.microsoft.com/office/2007/relationships/diagramDrawing" Target="../diagrams/drawing11.xml"/><Relationship Id="rId10" Type="http://schemas.openxmlformats.org/officeDocument/2006/relationships/diagramQuickStyle" Target="../diagrams/quickStyle2.xml"/><Relationship Id="rId31" Type="http://schemas.openxmlformats.org/officeDocument/2006/relationships/diagramColors" Target="../diagrams/colors6.xml"/><Relationship Id="rId44" Type="http://schemas.openxmlformats.org/officeDocument/2006/relationships/diagramLayout" Target="../diagrams/layout9.xml"/><Relationship Id="rId52" Type="http://schemas.microsoft.com/office/2007/relationships/diagramDrawing" Target="../diagrams/drawing10.xml"/><Relationship Id="rId60" Type="http://schemas.openxmlformats.org/officeDocument/2006/relationships/diagramQuickStyle" Target="../diagrams/quickStyle12.xml"/><Relationship Id="rId65" Type="http://schemas.openxmlformats.org/officeDocument/2006/relationships/diagramQuickStyle" Target="../diagrams/quickStyle13.xml"/><Relationship Id="rId73" Type="http://schemas.openxmlformats.org/officeDocument/2006/relationships/diagramData" Target="../diagrams/data15.xml"/><Relationship Id="rId78" Type="http://schemas.openxmlformats.org/officeDocument/2006/relationships/diagramData" Target="../diagrams/data16.xml"/><Relationship Id="rId81" Type="http://schemas.openxmlformats.org/officeDocument/2006/relationships/diagramColors" Target="../diagrams/colors16.xml"/><Relationship Id="rId86" Type="http://schemas.openxmlformats.org/officeDocument/2006/relationships/diagramColors" Target="../diagrams/colors17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-99392"/>
            <a:ext cx="9144000" cy="43204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ctr"/>
          <a:lstStyle/>
          <a:p>
            <a:pPr algn="ctr"/>
            <a:r>
              <a:rPr lang="ru-RU" b="1" u="sng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ИНВЕСТИЦИОННЫЕ ПРЕФЕРЕНЦИИ</a:t>
            </a:r>
            <a:endParaRPr lang="ru-RU" b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anose="020B0604020202020204" pitchFamily="34" charset="0"/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527827"/>
              </p:ext>
            </p:extLst>
          </p:nvPr>
        </p:nvGraphicFramePr>
        <p:xfrm>
          <a:off x="107504" y="404664"/>
          <a:ext cx="8856984" cy="47628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28492"/>
                <a:gridCol w="4428492"/>
              </a:tblGrid>
              <a:tr h="648072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ПО ИНВЕСТИЦИОННОМУ ПРОЕКТУ </a:t>
                      </a:r>
                    </a:p>
                    <a:p>
                      <a:pPr algn="ctr"/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ПО ИНВЕСТИЦИОННОМУ ПРИОРИТЕТНОМУ ПРОЕКТУ </a:t>
                      </a:r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2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cs typeface="Arial" panose="020B0604020202020204" pitchFamily="34" charset="0"/>
                        </a:rPr>
                        <a:t>ПРЕФЕРЕНЦИИ ПО НАЛОГАМ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cs typeface="Arial" panose="020B0604020202020204" pitchFamily="34" charset="0"/>
                        </a:rPr>
                        <a:t>: </a:t>
                      </a:r>
                    </a:p>
                    <a:p>
                      <a:pPr marL="0" marR="0" lvl="0" indent="0" algn="l" defTabSz="9142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cs typeface="Arial" panose="020B0604020202020204" pitchFamily="34" charset="0"/>
                        </a:rPr>
                        <a:t>- 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cs typeface="Arial" panose="020B0604020202020204" pitchFamily="34" charset="0"/>
                        </a:rPr>
                        <a:t>ОСВОБОЖДЕНИЕ ОТ ОБЛОЖЕНИЯ НАЛОГА НА ДОБАВЛЕННУЮ СТОИМОСТЬ НА ИМПОРТ СЫРЬЯ И (ИЛИ) МАТЕРИАЛОВ.</a:t>
                      </a:r>
                    </a:p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2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ФЕРЕНЦИИ ПО НАЛОГАМ: </a:t>
                      </a:r>
                    </a:p>
                    <a:p>
                      <a:pPr marL="285750" marR="0" lvl="0" indent="-285750" algn="l" defTabSz="9142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КОРПОРАТИВНЫЙ ПОДОХОДНЫЙ НАЛОГ – 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О% НА 10 ЛЕТ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; </a:t>
                      </a:r>
                    </a:p>
                    <a:p>
                      <a:pPr marL="285750" marR="0" lvl="0" indent="-285750" algn="l" defTabSz="9142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ЗЕМЕЛЬНЫЙ НАЛОГ – 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0% НА 10 ЛЕТ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;</a:t>
                      </a:r>
                    </a:p>
                    <a:p>
                      <a:pPr marL="285750" marR="0" lvl="0" indent="-285750" algn="l" defTabSz="9142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НАЛОГ НА ИМУЩЕСТВО – 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0% НА 8 ЛЕТ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. </a:t>
                      </a:r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1" dirty="0" smtClean="0"/>
                        <a:t>ИНВЕСТИЦИОННАЯ</a:t>
                      </a:r>
                      <a:r>
                        <a:rPr lang="ru-RU" sz="1600" baseline="0" dirty="0" smtClean="0"/>
                        <a:t> </a:t>
                      </a:r>
                      <a:r>
                        <a:rPr lang="ru-RU" sz="1600" b="1" baseline="0" dirty="0" smtClean="0"/>
                        <a:t>СУБСИДИЯ:</a:t>
                      </a:r>
                      <a:r>
                        <a:rPr lang="ru-RU" sz="1600" baseline="0" dirty="0" smtClean="0"/>
                        <a:t> </a:t>
                      </a:r>
                    </a:p>
                    <a:p>
                      <a:r>
                        <a:rPr lang="ru-RU" baseline="0" dirty="0" smtClean="0"/>
                        <a:t> - </a:t>
                      </a:r>
                      <a:r>
                        <a:rPr kumimoji="0" lang="ru-RU" sz="14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ВОЗМЕЩЕНИЕ </a:t>
                      </a:r>
                      <a:r>
                        <a:rPr kumimoji="0" lang="ru-RU" sz="14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О 30% </a:t>
                      </a:r>
                      <a:r>
                        <a:rPr kumimoji="0" lang="ru-RU" sz="14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ФАКТИЧЕСКИХ ЗАТРАТ НА СТРОИТЕЛЬНО-МОНТАЖНЫЕ РАБОТЫ И ПРИОБРЕТЕНИЕ ОБОРУДОВАНИЯ.</a:t>
                      </a:r>
                      <a:endParaRPr kumimoji="0" lang="ru-RU" sz="14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 gridSpan="2">
                  <a:txBody>
                    <a:bodyPr/>
                    <a:lstStyle/>
                    <a:p>
                      <a:pPr marL="0" marR="0" lvl="0" indent="0" algn="l" defTabSz="9142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ОСВОБОЖДЕНИЕ ОТ ОБЛОЖЕНИЯ ТАМОЖЕННЫМИ ПОШЛИНАМИ: </a:t>
                      </a:r>
                    </a:p>
                    <a:p>
                      <a:pPr marL="285750" marR="0" lvl="0" indent="-285750" algn="l" defTabSz="9142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ПРИ ИМПОРТЕ ТЕХНОЛОГИЧЕСКОГО ОБОРУДОВАНИЯ И КОМПЛЕКТУЮЩИХ К НЕМУ НА СРОК ДЕЙСТВИЯ КОНТРАКТА,НО НЕ БОЛЕЕ 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5 ЛЕТ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;</a:t>
                      </a:r>
                    </a:p>
                    <a:p>
                      <a:pPr marL="285750" marR="0" lvl="0" indent="-285750" algn="l" defTabSz="9142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ПРИ ИМПОРТЕ ЗАПАСНЫХ ЧАСТЕЙ К ТЕХНОЛОГИЧЕСКОМУ ОБОРУДОВАНИЮ 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ДО  5 ЛЕТ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;</a:t>
                      </a:r>
                    </a:p>
                    <a:p>
                      <a:pPr marL="285750" marR="0" lvl="0" indent="-285750" algn="l" defTabSz="9142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ПРИ ИМПОРТЕ СЫРЬЯ И (ИЛИ) МАТЕРИАЛОВ ПРЕДОСТАВЛЯЕТСЯ СРОКОМ 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НА 5 ЛЕТ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. </a:t>
                      </a:r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370840">
                <a:tc gridSpan="2">
                  <a:txBody>
                    <a:bodyPr/>
                    <a:lstStyle/>
                    <a:p>
                      <a:r>
                        <a:rPr lang="ru-RU" sz="1600" b="1" dirty="0" smtClean="0"/>
                        <a:t>ГОСУДАРСТВЕННЫЕ</a:t>
                      </a:r>
                      <a:r>
                        <a:rPr lang="ru-RU" sz="1600" b="1" baseline="0" dirty="0" smtClean="0"/>
                        <a:t> НАТУРНЫЕ ГРАНТЫ:</a:t>
                      </a:r>
                    </a:p>
                    <a:p>
                      <a:r>
                        <a:rPr lang="ru-RU" sz="1600" b="1" baseline="0" dirty="0" smtClean="0"/>
                        <a:t>- </a:t>
                      </a:r>
                      <a:r>
                        <a:rPr lang="ru-RU" sz="1400" b="0" baseline="0" dirty="0" smtClean="0"/>
                        <a:t>ЗЕМЕЛЬНЫЕ УЧАСТКИ, ЗДАНИЯ И СООРУЖЕНИЯ, НАХОДЯЩИЕСЯ В ГОСУДАРСТВЕННОЙ СОБСТВЕННОСТИ</a:t>
                      </a:r>
                      <a:endParaRPr lang="ru-RU" sz="1400" b="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323528" y="5301208"/>
            <a:ext cx="864096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i="1" dirty="0" smtClean="0">
                <a:solidFill>
                  <a:srgbClr val="FF0000"/>
                </a:solidFill>
              </a:rPr>
              <a:t>ТРЕБОВАНИЯ К ЗАЯВКЕ И УСЛОВИЯ ПОЛУЧЕНИЯ ИНВЕСТИЦИОННЫХ ПРЕФЕРЕНЦИЙ ПРЕДУСМОТРЕНЫ В  СТАТЬЕ 286 ПРЕДПРИНИМАТЕЛЬСКОГО КОДЕКСА РЕСПУБЛИКИ КАЗАХСТАН ОТ 29 ОКТЯБРЯ 2015 ГОДА </a:t>
            </a:r>
            <a:br>
              <a:rPr lang="ru-RU" sz="1400" i="1" dirty="0" smtClean="0">
                <a:solidFill>
                  <a:srgbClr val="FF0000"/>
                </a:solidFill>
              </a:rPr>
            </a:br>
            <a:r>
              <a:rPr lang="en-US" sz="1400" i="1" dirty="0" smtClean="0">
                <a:solidFill>
                  <a:srgbClr val="FF0000"/>
                </a:solidFill>
              </a:rPr>
              <a:t>№ </a:t>
            </a:r>
            <a:r>
              <a:rPr lang="en-US" sz="1400" i="1" dirty="0">
                <a:solidFill>
                  <a:srgbClr val="FF0000"/>
                </a:solidFill>
              </a:rPr>
              <a:t>375-V </a:t>
            </a:r>
            <a:r>
              <a:rPr lang="ru-RU" sz="1400" i="1" dirty="0" smtClean="0">
                <a:solidFill>
                  <a:srgbClr val="FF0000"/>
                </a:solidFill>
              </a:rPr>
              <a:t>ЗРК (</a:t>
            </a:r>
            <a:r>
              <a:rPr lang="en-US" sz="1400" i="1" dirty="0">
                <a:solidFill>
                  <a:srgbClr val="FF0000"/>
                </a:solidFill>
              </a:rPr>
              <a:t>https://adilet.zan.kz/rus/docs/K1500000375</a:t>
            </a:r>
            <a:r>
              <a:rPr lang="ru-RU" sz="1400" i="1" dirty="0" smtClean="0">
                <a:solidFill>
                  <a:srgbClr val="FF0000"/>
                </a:solidFill>
              </a:rPr>
              <a:t>)</a:t>
            </a:r>
            <a:endParaRPr lang="ru-RU" sz="1400" i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0461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830"/>
            <a:ext cx="9144000" cy="43204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ctr"/>
          <a:lstStyle/>
          <a:p>
            <a:pPr algn="ctr"/>
            <a:r>
              <a:rPr lang="ru-RU" b="1" u="sng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ОГЛАШЕНИЕ ОБ ИНВЕСТИЦИЯХ</a:t>
            </a:r>
            <a:endParaRPr lang="ru-RU" b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anose="020B0604020202020204" pitchFamily="34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613679"/>
              </p:ext>
            </p:extLst>
          </p:nvPr>
        </p:nvGraphicFramePr>
        <p:xfrm>
          <a:off x="179512" y="548680"/>
          <a:ext cx="8712967" cy="5760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8013"/>
                <a:gridCol w="4204954"/>
              </a:tblGrid>
              <a:tr h="5760640">
                <a:tc>
                  <a:txBody>
                    <a:bodyPr/>
                    <a:lstStyle/>
                    <a:p>
                      <a:r>
                        <a:rPr lang="ru-RU" sz="1800" b="1" u="sng" dirty="0" smtClean="0">
                          <a:solidFill>
                            <a:schemeClr val="tx1"/>
                          </a:solidFill>
                          <a:effectLst/>
                        </a:rPr>
                        <a:t>НА </a:t>
                      </a:r>
                      <a:r>
                        <a:rPr lang="ru-RU" sz="1800" b="1" u="sng" dirty="0" smtClean="0">
                          <a:solidFill>
                            <a:srgbClr val="FF0000"/>
                          </a:solidFill>
                          <a:effectLst/>
                        </a:rPr>
                        <a:t>25 ЛЕТ </a:t>
                      </a:r>
                      <a:r>
                        <a:rPr lang="ru-RU" sz="1800" b="1" u="sng" dirty="0" smtClean="0">
                          <a:solidFill>
                            <a:schemeClr val="tx1"/>
                          </a:solidFill>
                          <a:effectLst/>
                        </a:rPr>
                        <a:t>СОХРАНЯЕТСЯ </a:t>
                      </a:r>
                      <a:r>
                        <a:rPr lang="ru-RU" sz="1800" b="1" u="none" dirty="0" smtClean="0">
                          <a:solidFill>
                            <a:schemeClr val="tx1"/>
                          </a:solidFill>
                          <a:effectLst/>
                        </a:rPr>
                        <a:t>- </a:t>
                      </a:r>
                      <a:r>
                        <a:rPr lang="ru-RU" sz="1800" u="none" dirty="0" smtClean="0">
                          <a:solidFill>
                            <a:schemeClr val="tx1"/>
                          </a:solidFill>
                          <a:effectLst/>
                        </a:rPr>
                        <a:t>СТАБИЛЬНОСТЬ ЗАКОНОДАТЕЛЬСТВА</a:t>
                      </a:r>
                    </a:p>
                    <a:p>
                      <a:endParaRPr lang="ru-RU" sz="1800" u="none" dirty="0" smtClean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marR="0" indent="0" algn="l" defTabSz="9142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u="sng" dirty="0" smtClean="0">
                          <a:solidFill>
                            <a:schemeClr val="tx1"/>
                          </a:solidFill>
                          <a:effectLst/>
                        </a:rPr>
                        <a:t>ДО </a:t>
                      </a:r>
                      <a:r>
                        <a:rPr lang="ru-RU" sz="1800" u="sng" dirty="0" smtClean="0">
                          <a:solidFill>
                            <a:srgbClr val="FF0000"/>
                          </a:solidFill>
                          <a:effectLst/>
                        </a:rPr>
                        <a:t>20% </a:t>
                      </a:r>
                      <a:r>
                        <a:rPr lang="ru-RU" sz="1800" u="sng" dirty="0" smtClean="0">
                          <a:solidFill>
                            <a:schemeClr val="tx1"/>
                          </a:solidFill>
                          <a:effectLst/>
                        </a:rPr>
                        <a:t>ВОЗМЕЩЕНИЕ </a:t>
                      </a:r>
                      <a:r>
                        <a:rPr lang="ru-RU" sz="1800" u="none" dirty="0" smtClean="0">
                          <a:solidFill>
                            <a:schemeClr val="tx1"/>
                          </a:solidFill>
                          <a:effectLst/>
                        </a:rPr>
                        <a:t>СМР И ПРИОБРЕТЕНИЕ ОБОРУДОВАНИЯ БЕЗ УЧЕТА НДС</a:t>
                      </a:r>
                    </a:p>
                    <a:p>
                      <a:pPr marL="0" marR="0" indent="0" algn="l" defTabSz="9142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u="none" dirty="0" smtClean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marR="0" indent="0" algn="l" defTabSz="9142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u="sng" dirty="0" smtClean="0">
                          <a:solidFill>
                            <a:schemeClr val="tx1"/>
                          </a:solidFill>
                          <a:effectLst/>
                        </a:rPr>
                        <a:t>ОСОБЫЙ ПОРЯДОК</a:t>
                      </a:r>
                    </a:p>
                    <a:p>
                      <a:pPr marL="0" marR="0" indent="0" algn="l" defTabSz="9142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u="sng" dirty="0" smtClean="0">
                          <a:solidFill>
                            <a:schemeClr val="tx1"/>
                          </a:solidFill>
                          <a:effectLst/>
                        </a:rPr>
                        <a:t>НАЛОГООБЛОЖЕНИЯ</a:t>
                      </a:r>
                      <a:r>
                        <a:rPr lang="ru-RU" sz="1800" b="1" u="none" dirty="0" smtClean="0">
                          <a:solidFill>
                            <a:schemeClr val="tx1"/>
                          </a:solidFill>
                          <a:effectLst/>
                        </a:rPr>
                        <a:t>:</a:t>
                      </a:r>
                    </a:p>
                    <a:p>
                      <a:pPr marL="0" marR="0" indent="0" algn="l" defTabSz="9142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u="none" dirty="0" smtClean="0">
                          <a:solidFill>
                            <a:schemeClr val="tx1"/>
                          </a:solidFill>
                          <a:effectLst/>
                        </a:rPr>
                        <a:t>-</a:t>
                      </a:r>
                      <a:r>
                        <a:rPr lang="ru-RU" sz="1800" u="none" dirty="0" smtClean="0">
                          <a:solidFill>
                            <a:srgbClr val="FF0000"/>
                          </a:solidFill>
                          <a:effectLst/>
                        </a:rPr>
                        <a:t> 0% </a:t>
                      </a:r>
                      <a:r>
                        <a:rPr lang="ru-RU" sz="1800" u="none" dirty="0" smtClean="0">
                          <a:solidFill>
                            <a:schemeClr val="tx1"/>
                          </a:solidFill>
                          <a:effectLst/>
                        </a:rPr>
                        <a:t>ЗЕМЕЛЬНЫЙ НАЛОГ;</a:t>
                      </a:r>
                    </a:p>
                    <a:p>
                      <a:pPr marL="0" marR="0" indent="0" algn="l" defTabSz="9142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u="none" dirty="0" smtClean="0">
                          <a:solidFill>
                            <a:schemeClr val="tx1"/>
                          </a:solidFill>
                          <a:effectLst/>
                        </a:rPr>
                        <a:t>- </a:t>
                      </a:r>
                      <a:r>
                        <a:rPr lang="ru-RU" sz="1800" u="none" dirty="0" smtClean="0">
                          <a:solidFill>
                            <a:srgbClr val="FF0000"/>
                          </a:solidFill>
                          <a:effectLst/>
                        </a:rPr>
                        <a:t>0% </a:t>
                      </a:r>
                      <a:r>
                        <a:rPr lang="ru-RU" sz="1800" u="none" dirty="0" smtClean="0">
                          <a:solidFill>
                            <a:schemeClr val="tx1"/>
                          </a:solidFill>
                          <a:effectLst/>
                        </a:rPr>
                        <a:t>НАЛОГ НА ИМУЩЕСТВО;</a:t>
                      </a:r>
                    </a:p>
                    <a:p>
                      <a:pPr marL="0" marR="0" indent="0" algn="l" defTabSz="9142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u="none" dirty="0" smtClean="0">
                          <a:solidFill>
                            <a:schemeClr val="tx1"/>
                          </a:solidFill>
                          <a:effectLst/>
                        </a:rPr>
                        <a:t>- </a:t>
                      </a:r>
                      <a:r>
                        <a:rPr lang="ru-RU" sz="1800" u="none" dirty="0" smtClean="0">
                          <a:solidFill>
                            <a:srgbClr val="FF0000"/>
                          </a:solidFill>
                          <a:effectLst/>
                        </a:rPr>
                        <a:t>0% </a:t>
                      </a:r>
                      <a:r>
                        <a:rPr lang="ru-RU" sz="1800" u="none" dirty="0" smtClean="0">
                          <a:solidFill>
                            <a:schemeClr val="tx1"/>
                          </a:solidFill>
                          <a:effectLst/>
                        </a:rPr>
                        <a:t>ТАМОЖЕННЫХ ПОШЛИН НА</a:t>
                      </a:r>
                    </a:p>
                    <a:p>
                      <a:pPr marL="0" marR="0" indent="0" algn="l" defTabSz="9142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u="none" dirty="0" smtClean="0">
                          <a:solidFill>
                            <a:schemeClr val="tx1"/>
                          </a:solidFill>
                          <a:effectLst/>
                        </a:rPr>
                        <a:t>- </a:t>
                      </a:r>
                      <a:r>
                        <a:rPr lang="ru-RU" sz="1800" u="none" dirty="0" smtClean="0">
                          <a:solidFill>
                            <a:srgbClr val="FF0000"/>
                          </a:solidFill>
                          <a:effectLst/>
                        </a:rPr>
                        <a:t>0%</a:t>
                      </a:r>
                      <a:r>
                        <a:rPr lang="ru-RU" sz="1800" u="none" dirty="0" smtClean="0">
                          <a:solidFill>
                            <a:schemeClr val="tx1"/>
                          </a:solidFill>
                          <a:effectLst/>
                        </a:rPr>
                        <a:t> ИМПОРТ СЫРЬЯ И ОБОРУДОВАНИЯ</a:t>
                      </a:r>
                    </a:p>
                    <a:p>
                      <a:pPr marL="0" marR="0" indent="0" algn="l" defTabSz="9142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u="none" dirty="0" smtClean="0">
                          <a:solidFill>
                            <a:schemeClr val="tx1"/>
                          </a:solidFill>
                          <a:effectLst/>
                        </a:rPr>
                        <a:t>КПН.</a:t>
                      </a:r>
                    </a:p>
                    <a:p>
                      <a:pPr marL="0" marR="0" indent="0" algn="l" defTabSz="9142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u="none" dirty="0" smtClean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marR="0" indent="0" algn="l" defTabSz="9142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u="sng" dirty="0" smtClean="0">
                          <a:solidFill>
                            <a:schemeClr val="tx1"/>
                          </a:solidFill>
                          <a:effectLst/>
                        </a:rPr>
                        <a:t>ГОСУДАРСТВЕННЫЕ НАТУРНЫЕ ГРАНТЫ</a:t>
                      </a:r>
                      <a:endParaRPr lang="ru-RU" sz="1800" u="sng" dirty="0" smtClean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marR="0" indent="0" algn="l" defTabSz="9142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dirty="0" smtClean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marR="0" indent="0" algn="l" defTabSz="9142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dirty="0" smtClean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endParaRPr lang="ru-RU" dirty="0" smtClean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u="sng" dirty="0" smtClean="0">
                          <a:solidFill>
                            <a:schemeClr val="tx1"/>
                          </a:solidFill>
                          <a:effectLst/>
                        </a:rPr>
                        <a:t>ТРЕБОВАНИЯ: </a:t>
                      </a:r>
                      <a:r>
                        <a:rPr lang="ru-RU" u="none" dirty="0" smtClean="0">
                          <a:solidFill>
                            <a:schemeClr val="tx1"/>
                          </a:solidFill>
                          <a:effectLst/>
                        </a:rPr>
                        <a:t>ИНВЕСТИЦИИ В СУММЕ  </a:t>
                      </a:r>
                      <a:r>
                        <a:rPr lang="ru-RU" u="none" dirty="0" smtClean="0">
                          <a:solidFill>
                            <a:srgbClr val="FF0000"/>
                          </a:solidFill>
                          <a:effectLst/>
                        </a:rPr>
                        <a:t>51 МЛН ДОЛЛ.США </a:t>
                      </a:r>
                      <a:r>
                        <a:rPr lang="ru-RU" i="1" u="none" dirty="0" smtClean="0">
                          <a:solidFill>
                            <a:schemeClr val="tx1"/>
                          </a:solidFill>
                          <a:effectLst/>
                        </a:rPr>
                        <a:t>(НЕ МЕНЕЕ 7,5 МЛН.МРП)</a:t>
                      </a:r>
                    </a:p>
                    <a:p>
                      <a:endParaRPr lang="ru-RU" i="1" u="sng" dirty="0" smtClean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0" marR="0" lvl="0" indent="0" algn="l" defTabSz="9142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u="sng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СЛОВИЯ ЗАКЛЮЧЕНИЯ СОГЛАШЕНИЯ ОБ ИНВЕСТИЦИЯХ</a:t>
                      </a:r>
                      <a:r>
                        <a:rPr lang="ru-RU" sz="1800" b="1" u="none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800" b="1" u="none" kern="1200" baseline="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800" b="1" u="none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ЕДУСМОТРЕНЫ В  СТАТЬЕ 295-2 ПРЕДПРИНИМАТЕЛЬСКОГО КОДЕКСА РЕСПУБЛИКИ КАЗАХСТАН </a:t>
                      </a:r>
                      <a:br>
                        <a:rPr lang="ru-RU" sz="1800" b="1" u="none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800" b="1" u="none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 </a:t>
                      </a:r>
                      <a:r>
                        <a:rPr lang="ru-RU" sz="1800" b="1" u="none" kern="1200" baseline="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800" b="1" u="none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9 ОКТЯБРЯ 2015 ГОДА </a:t>
                      </a:r>
                      <a:r>
                        <a:rPr lang="en-US" sz="1800" b="1" u="none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 375-V </a:t>
                      </a:r>
                      <a:r>
                        <a:rPr lang="ru-RU" sz="1800" b="1" u="none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РК </a:t>
                      </a:r>
                      <a:r>
                        <a:rPr lang="ru-RU" sz="1800" b="0" i="1" u="sng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n-US" sz="1800" b="0" i="1" u="sng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ttps://adilet.zan.kz/rus/docs/K1500000375</a:t>
                      </a:r>
                      <a:r>
                        <a:rPr lang="ru-RU" sz="1800" b="0" i="1" u="sng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0" algn="l" defTabSz="914290" rtl="0" eaLnBrk="1" latinLnBrk="0" hangingPunct="1"/>
                      <a:endParaRPr lang="ru-RU" sz="1800" b="1" u="sng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2603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99392"/>
            <a:ext cx="9144000" cy="43204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ctr"/>
          <a:lstStyle/>
          <a:p>
            <a:pPr algn="ctr"/>
            <a:r>
              <a:rPr lang="ru-RU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СПЕЦИАЛЬНЫЕ ЭКОНОМИЧЕСКИЕ ЗОНЫ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51520" y="404664"/>
            <a:ext cx="835292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Ориентируясь на мировой опыт привлечения </a:t>
            </a:r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инвестиций, в Казахстане действуют </a:t>
            </a:r>
            <a:r>
              <a:rPr lang="ru-RU" b="1" u="sng" dirty="0" smtClean="0">
                <a:solidFill>
                  <a:srgbClr val="FF0000"/>
                </a:solidFill>
                <a:cs typeface="Arial" panose="020B0604020202020204" pitchFamily="34" charset="0"/>
              </a:rPr>
              <a:t>13 </a:t>
            </a:r>
            <a:r>
              <a:rPr lang="ru-RU" b="1" u="sng" dirty="0">
                <a:solidFill>
                  <a:srgbClr val="FF0000"/>
                </a:solidFill>
                <a:cs typeface="Arial" panose="020B0604020202020204" pitchFamily="34" charset="0"/>
              </a:rPr>
              <a:t>специальных экономических зон</a:t>
            </a:r>
            <a:r>
              <a:rPr lang="ru-RU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, резидентам которых предоставляется земельный участок с готовой инфраструктурой, преференции, а также освобождение от таможенных пошлин и основных видов налогов (КПН, НДС, земельный налог и налог на имущество</a:t>
            </a:r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). </a:t>
            </a:r>
            <a:endParaRPr lang="ru-RU" b="1" dirty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069539"/>
              </p:ext>
            </p:extLst>
          </p:nvPr>
        </p:nvGraphicFramePr>
        <p:xfrm>
          <a:off x="251520" y="1988840"/>
          <a:ext cx="8496945" cy="418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32315"/>
                <a:gridCol w="2832315"/>
                <a:gridCol w="2832315"/>
              </a:tblGrid>
              <a:tr h="370840">
                <a:tc gridSpan="3">
                  <a:txBody>
                    <a:bodyPr/>
                    <a:lstStyle/>
                    <a:p>
                      <a:pPr marL="0" marR="0" indent="0" algn="ctr" defTabSz="9142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chemeClr val="l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ЛЬГОТЫ ДЛЯ УЧАСТНИКОВ СЭЗ</a:t>
                      </a:r>
                      <a:endParaRPr lang="ru-RU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fontAlgn="ctr"/>
                      <a:r>
                        <a:rPr lang="ru-RU" sz="16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ЛОГОВЫЕ ЛЬГОТЫ:</a:t>
                      </a:r>
                      <a:endParaRPr lang="ru-RU" sz="16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 algn="l" fontAlgn="ctr">
                        <a:buNone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-</a:t>
                      </a:r>
                      <a:r>
                        <a:rPr lang="ru-RU" sz="14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НИЖЕНИЕ СУММЫ ИСЧИСЛЕННОГО КПН НА </a:t>
                      </a:r>
                      <a:r>
                        <a:rPr lang="ru-RU" sz="1400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;</a:t>
                      </a:r>
                    </a:p>
                    <a:p>
                      <a:pPr marL="0" indent="0" algn="l" fontAlgn="ctr">
                        <a:buNone/>
                      </a:pPr>
                      <a:r>
                        <a:rPr lang="ru-RU" sz="14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- </a:t>
                      </a: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НИЖЕНИЕ СТАВКИ ПО ЗЕМЕЛЬНОМУ НАЛОГУ НА </a:t>
                      </a:r>
                      <a:r>
                        <a:rPr lang="ru-RU" sz="1400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;</a:t>
                      </a:r>
                    </a:p>
                    <a:p>
                      <a:pPr algn="l" fontAlgn="ctr"/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ru-RU" sz="14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НИЖЕНИЕ СТАВКИ ПО НАЛОГУ НА ИМУЩЕСТВО НА </a:t>
                      </a:r>
                      <a:r>
                        <a:rPr lang="ru-RU" sz="1400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;</a:t>
                      </a:r>
                    </a:p>
                    <a:p>
                      <a:pPr algn="l" fontAlgn="ctr"/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ru-RU" sz="14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АВКА </a:t>
                      </a:r>
                      <a:r>
                        <a:rPr lang="ru-RU" sz="1400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% </a:t>
                      </a: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 НДС ДЛЯ ТОВАРОВ, РЕАЛИЗУЕМЫХ НА ТЕРРИТОРИЮ СЭЗ, ПОЛНОСТЬЮ ПОТРЕБЛЯЕМЫХ В ПРОЦЕССЕ ПРОИЗВОДСТВА.</a:t>
                      </a:r>
                    </a:p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290" rtl="0" eaLnBrk="1" fontAlgn="ctr" latinLnBrk="0" hangingPunct="1">
                        <a:lnSpc>
                          <a:spcPct val="120000"/>
                        </a:lnSpc>
                        <a:spcBef>
                          <a:spcPts val="285"/>
                        </a:spcBef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АМОЖЕННЫЕ ЛЬГОТЫ:</a:t>
                      </a:r>
                    </a:p>
                    <a:p>
                      <a:pPr marL="0" algn="l" defTabSz="914290" rtl="0" eaLnBrk="1" fontAlgn="ctr" latinLnBrk="0" hangingPunct="1">
                        <a:lnSpc>
                          <a:spcPct val="120000"/>
                        </a:lnSpc>
                        <a:spcAft>
                          <a:spcPts val="285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ОСВОБОЖДЕНИЕ ОТ УПЛАТЫ ТАМОЖЕННЫХ ПОШЛИН ДЛЯ ТОВАРОВ, ВВОЗИМЫХ НА ТЕРРИТОРИЮ СЭЗ.</a:t>
                      </a:r>
                    </a:p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ru-RU" sz="16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РУГИЕ СТИМУЛЫ:</a:t>
                      </a:r>
                    </a:p>
                    <a:p>
                      <a:pPr marL="0" algn="l" defTabSz="914290" rtl="0" eaLnBrk="1" fontAlgn="ctr" latinLnBrk="0" hangingPunct="1"/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ru-RU" sz="18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ИВЛЕЧЕНИЕ ИНОСТРАННОЙ РАБОЧЕЙ СИЛЫ ВНЕ КВОТ И БЕЗ РАЗРЕШЕНИЙ ДЛЯ ПРОЕКТОВ СО СТОИМОСТЬЮ СВЫШЕ ОДНОГО МИЛЛИОНА МРП НА ПЕРИОД СТРОИТЕЛЬСТВА И 1 ГОДА ПОСЛЕ ВВОДА В ЭКСПЛУАТАЦИЮ;</a:t>
                      </a:r>
                    </a:p>
                    <a:p>
                      <a:pPr marL="0" algn="l" defTabSz="914290" rtl="0" eaLnBrk="1" fontAlgn="ctr" latinLnBrk="0" hangingPunct="1"/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ru-RU" sz="14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ЛИЧИЕ ГОТОВОЙ ИНФРАСТРУКТУРЫ;</a:t>
                      </a:r>
                    </a:p>
                    <a:p>
                      <a:pPr marL="0" algn="l" defTabSz="914290" rtl="0" eaLnBrk="1" fontAlgn="ctr" latinLnBrk="0" hangingPunct="1"/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ru-RU" sz="14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ЛИЧИЕ ОРГАНА УПРАВЛЕНИЯ СЭЗ – КООРДИНАЦИЯ И ПОДДЕРЖКА ПО ВСЕМ ВНУТРЕННИМ ПРОЦЕССАМ (ЗЕМЛЯ, КОММУНАЛЬНЫЕ СЕТИ, РАЗРЕШЕНИЯ И Т. Д.).</a:t>
                      </a:r>
                    </a:p>
                    <a:p>
                      <a:pPr marL="0" algn="l" defTabSz="914290" rtl="0" eaLnBrk="1" fontAlgn="ctr" latinLnBrk="0" hangingPunct="1"/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69069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36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143000" y="645949"/>
            <a:ext cx="9001000" cy="5400600"/>
            <a:chOff x="27932" y="1780710"/>
            <a:chExt cx="6102148" cy="3665845"/>
          </a:xfrm>
          <a:solidFill>
            <a:schemeClr val="bg1"/>
          </a:solidFill>
          <a:effectLst/>
        </p:grpSpPr>
        <p:sp>
          <p:nvSpPr>
            <p:cNvPr id="41" name="Freeform 3"/>
            <p:cNvSpPr>
              <a:spLocks noEditPoints="1"/>
            </p:cNvSpPr>
            <p:nvPr/>
          </p:nvSpPr>
          <p:spPr bwMode="auto">
            <a:xfrm>
              <a:off x="2150930" y="1963992"/>
              <a:ext cx="1129218" cy="1602294"/>
            </a:xfrm>
            <a:custGeom>
              <a:avLst/>
              <a:gdLst/>
              <a:ahLst/>
              <a:cxnLst>
                <a:cxn ang="0">
                  <a:pos x="119" y="6"/>
                </a:cxn>
                <a:cxn ang="0">
                  <a:pos x="121" y="17"/>
                </a:cxn>
                <a:cxn ang="0">
                  <a:pos x="118" y="22"/>
                </a:cxn>
                <a:cxn ang="0">
                  <a:pos x="121" y="29"/>
                </a:cxn>
                <a:cxn ang="0">
                  <a:pos x="118" y="33"/>
                </a:cxn>
                <a:cxn ang="0">
                  <a:pos x="123" y="38"/>
                </a:cxn>
                <a:cxn ang="0">
                  <a:pos x="117" y="48"/>
                </a:cxn>
                <a:cxn ang="0">
                  <a:pos x="114" y="62"/>
                </a:cxn>
                <a:cxn ang="0">
                  <a:pos x="110" y="79"/>
                </a:cxn>
                <a:cxn ang="0">
                  <a:pos x="103" y="96"/>
                </a:cxn>
                <a:cxn ang="0">
                  <a:pos x="109" y="107"/>
                </a:cxn>
                <a:cxn ang="0">
                  <a:pos x="119" y="113"/>
                </a:cxn>
                <a:cxn ang="0">
                  <a:pos x="134" y="121"/>
                </a:cxn>
                <a:cxn ang="0">
                  <a:pos x="150" y="126"/>
                </a:cxn>
                <a:cxn ang="0">
                  <a:pos x="149" y="135"/>
                </a:cxn>
                <a:cxn ang="0">
                  <a:pos x="129" y="157"/>
                </a:cxn>
                <a:cxn ang="0">
                  <a:pos x="120" y="169"/>
                </a:cxn>
                <a:cxn ang="0">
                  <a:pos x="108" y="180"/>
                </a:cxn>
                <a:cxn ang="0">
                  <a:pos x="90" y="182"/>
                </a:cxn>
                <a:cxn ang="0">
                  <a:pos x="75" y="197"/>
                </a:cxn>
                <a:cxn ang="0">
                  <a:pos x="68" y="194"/>
                </a:cxn>
                <a:cxn ang="0">
                  <a:pos x="52" y="180"/>
                </a:cxn>
                <a:cxn ang="0">
                  <a:pos x="46" y="173"/>
                </a:cxn>
                <a:cxn ang="0">
                  <a:pos x="39" y="170"/>
                </a:cxn>
                <a:cxn ang="0">
                  <a:pos x="42" y="158"/>
                </a:cxn>
                <a:cxn ang="0">
                  <a:pos x="50" y="148"/>
                </a:cxn>
                <a:cxn ang="0">
                  <a:pos x="46" y="122"/>
                </a:cxn>
                <a:cxn ang="0">
                  <a:pos x="28" y="98"/>
                </a:cxn>
                <a:cxn ang="0">
                  <a:pos x="14" y="90"/>
                </a:cxn>
                <a:cxn ang="0">
                  <a:pos x="4" y="82"/>
                </a:cxn>
                <a:cxn ang="0">
                  <a:pos x="0" y="78"/>
                </a:cxn>
                <a:cxn ang="0">
                  <a:pos x="5" y="75"/>
                </a:cxn>
                <a:cxn ang="0">
                  <a:pos x="9" y="73"/>
                </a:cxn>
                <a:cxn ang="0">
                  <a:pos x="15" y="69"/>
                </a:cxn>
                <a:cxn ang="0">
                  <a:pos x="17" y="63"/>
                </a:cxn>
                <a:cxn ang="0">
                  <a:pos x="14" y="57"/>
                </a:cxn>
                <a:cxn ang="0">
                  <a:pos x="18" y="50"/>
                </a:cxn>
                <a:cxn ang="0">
                  <a:pos x="36" y="50"/>
                </a:cxn>
                <a:cxn ang="0">
                  <a:pos x="39" y="47"/>
                </a:cxn>
                <a:cxn ang="0">
                  <a:pos x="38" y="42"/>
                </a:cxn>
                <a:cxn ang="0">
                  <a:pos x="34" y="40"/>
                </a:cxn>
                <a:cxn ang="0">
                  <a:pos x="28" y="37"/>
                </a:cxn>
                <a:cxn ang="0">
                  <a:pos x="23" y="35"/>
                </a:cxn>
                <a:cxn ang="0">
                  <a:pos x="31" y="29"/>
                </a:cxn>
                <a:cxn ang="0">
                  <a:pos x="28" y="28"/>
                </a:cxn>
                <a:cxn ang="0">
                  <a:pos x="21" y="26"/>
                </a:cxn>
                <a:cxn ang="0">
                  <a:pos x="23" y="23"/>
                </a:cxn>
                <a:cxn ang="0">
                  <a:pos x="23" y="20"/>
                </a:cxn>
                <a:cxn ang="0">
                  <a:pos x="22" y="17"/>
                </a:cxn>
                <a:cxn ang="0">
                  <a:pos x="31" y="18"/>
                </a:cxn>
                <a:cxn ang="0">
                  <a:pos x="54" y="18"/>
                </a:cxn>
                <a:cxn ang="0">
                  <a:pos x="63" y="15"/>
                </a:cxn>
                <a:cxn ang="0">
                  <a:pos x="69" y="13"/>
                </a:cxn>
                <a:cxn ang="0">
                  <a:pos x="80" y="10"/>
                </a:cxn>
                <a:cxn ang="0">
                  <a:pos x="88" y="12"/>
                </a:cxn>
                <a:cxn ang="0">
                  <a:pos x="98" y="10"/>
                </a:cxn>
                <a:cxn ang="0">
                  <a:pos x="100" y="5"/>
                </a:cxn>
                <a:cxn ang="0">
                  <a:pos x="104" y="3"/>
                </a:cxn>
                <a:cxn ang="0">
                  <a:pos x="109" y="1"/>
                </a:cxn>
                <a:cxn ang="0">
                  <a:pos x="9" y="86"/>
                </a:cxn>
                <a:cxn ang="0">
                  <a:pos x="11" y="85"/>
                </a:cxn>
              </a:cxnLst>
              <a:rect l="0" t="0" r="r" b="b"/>
              <a:pathLst>
                <a:path w="151" h="199">
                  <a:moveTo>
                    <a:pt x="109" y="0"/>
                  </a:moveTo>
                  <a:lnTo>
                    <a:pt x="112" y="0"/>
                  </a:lnTo>
                  <a:lnTo>
                    <a:pt x="114" y="0"/>
                  </a:lnTo>
                  <a:lnTo>
                    <a:pt x="116" y="0"/>
                  </a:lnTo>
                  <a:lnTo>
                    <a:pt x="118" y="0"/>
                  </a:lnTo>
                  <a:lnTo>
                    <a:pt x="118" y="1"/>
                  </a:lnTo>
                  <a:lnTo>
                    <a:pt x="118" y="1"/>
                  </a:lnTo>
                  <a:lnTo>
                    <a:pt x="119" y="2"/>
                  </a:lnTo>
                  <a:lnTo>
                    <a:pt x="119" y="2"/>
                  </a:lnTo>
                  <a:lnTo>
                    <a:pt x="119" y="3"/>
                  </a:lnTo>
                  <a:lnTo>
                    <a:pt x="119" y="4"/>
                  </a:lnTo>
                  <a:lnTo>
                    <a:pt x="119" y="5"/>
                  </a:lnTo>
                  <a:lnTo>
                    <a:pt x="119" y="6"/>
                  </a:lnTo>
                  <a:lnTo>
                    <a:pt x="119" y="7"/>
                  </a:lnTo>
                  <a:lnTo>
                    <a:pt x="119" y="8"/>
                  </a:lnTo>
                  <a:lnTo>
                    <a:pt x="119" y="9"/>
                  </a:lnTo>
                  <a:lnTo>
                    <a:pt x="119" y="11"/>
                  </a:lnTo>
                  <a:lnTo>
                    <a:pt x="119" y="12"/>
                  </a:lnTo>
                  <a:lnTo>
                    <a:pt x="119" y="12"/>
                  </a:lnTo>
                  <a:lnTo>
                    <a:pt x="119" y="13"/>
                  </a:lnTo>
                  <a:lnTo>
                    <a:pt x="120" y="14"/>
                  </a:lnTo>
                  <a:lnTo>
                    <a:pt x="120" y="15"/>
                  </a:lnTo>
                  <a:lnTo>
                    <a:pt x="120" y="15"/>
                  </a:lnTo>
                  <a:lnTo>
                    <a:pt x="120" y="16"/>
                  </a:lnTo>
                  <a:lnTo>
                    <a:pt x="121" y="16"/>
                  </a:lnTo>
                  <a:lnTo>
                    <a:pt x="121" y="17"/>
                  </a:lnTo>
                  <a:lnTo>
                    <a:pt x="121" y="17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9"/>
                  </a:lnTo>
                  <a:lnTo>
                    <a:pt x="121" y="19"/>
                  </a:lnTo>
                  <a:lnTo>
                    <a:pt x="121" y="20"/>
                  </a:lnTo>
                  <a:lnTo>
                    <a:pt x="120" y="20"/>
                  </a:lnTo>
                  <a:lnTo>
                    <a:pt x="120" y="21"/>
                  </a:lnTo>
                  <a:lnTo>
                    <a:pt x="120" y="21"/>
                  </a:lnTo>
                  <a:lnTo>
                    <a:pt x="119" y="21"/>
                  </a:lnTo>
                  <a:lnTo>
                    <a:pt x="119" y="21"/>
                  </a:lnTo>
                  <a:lnTo>
                    <a:pt x="118" y="21"/>
                  </a:lnTo>
                  <a:lnTo>
                    <a:pt x="118" y="22"/>
                  </a:lnTo>
                  <a:lnTo>
                    <a:pt x="117" y="22"/>
                  </a:lnTo>
                  <a:lnTo>
                    <a:pt x="117" y="22"/>
                  </a:lnTo>
                  <a:lnTo>
                    <a:pt x="116" y="22"/>
                  </a:lnTo>
                  <a:lnTo>
                    <a:pt x="117" y="22"/>
                  </a:lnTo>
                  <a:lnTo>
                    <a:pt x="117" y="23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9" y="25"/>
                  </a:lnTo>
                  <a:lnTo>
                    <a:pt x="119" y="26"/>
                  </a:lnTo>
                  <a:lnTo>
                    <a:pt x="120" y="27"/>
                  </a:lnTo>
                  <a:lnTo>
                    <a:pt x="120" y="28"/>
                  </a:lnTo>
                  <a:lnTo>
                    <a:pt x="121" y="28"/>
                  </a:lnTo>
                  <a:lnTo>
                    <a:pt x="121" y="29"/>
                  </a:lnTo>
                  <a:lnTo>
                    <a:pt x="121" y="29"/>
                  </a:lnTo>
                  <a:lnTo>
                    <a:pt x="121" y="30"/>
                  </a:lnTo>
                  <a:lnTo>
                    <a:pt x="121" y="30"/>
                  </a:lnTo>
                  <a:lnTo>
                    <a:pt x="121" y="30"/>
                  </a:lnTo>
                  <a:lnTo>
                    <a:pt x="121" y="31"/>
                  </a:lnTo>
                  <a:lnTo>
                    <a:pt x="121" y="31"/>
                  </a:lnTo>
                  <a:lnTo>
                    <a:pt x="121" y="31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19" y="32"/>
                  </a:lnTo>
                  <a:lnTo>
                    <a:pt x="119" y="33"/>
                  </a:lnTo>
                  <a:lnTo>
                    <a:pt x="118" y="33"/>
                  </a:lnTo>
                  <a:lnTo>
                    <a:pt x="118" y="33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5"/>
                  </a:lnTo>
                  <a:lnTo>
                    <a:pt x="119" y="35"/>
                  </a:lnTo>
                  <a:lnTo>
                    <a:pt x="119" y="35"/>
                  </a:lnTo>
                  <a:lnTo>
                    <a:pt x="119" y="35"/>
                  </a:lnTo>
                  <a:lnTo>
                    <a:pt x="120" y="36"/>
                  </a:lnTo>
                  <a:lnTo>
                    <a:pt x="121" y="36"/>
                  </a:lnTo>
                  <a:lnTo>
                    <a:pt x="122" y="36"/>
                  </a:lnTo>
                  <a:lnTo>
                    <a:pt x="122" y="36"/>
                  </a:lnTo>
                  <a:lnTo>
                    <a:pt x="123" y="37"/>
                  </a:lnTo>
                  <a:lnTo>
                    <a:pt x="123" y="37"/>
                  </a:lnTo>
                  <a:lnTo>
                    <a:pt x="123" y="38"/>
                  </a:lnTo>
                  <a:lnTo>
                    <a:pt x="123" y="38"/>
                  </a:lnTo>
                  <a:lnTo>
                    <a:pt x="123" y="39"/>
                  </a:lnTo>
                  <a:lnTo>
                    <a:pt x="122" y="40"/>
                  </a:lnTo>
                  <a:lnTo>
                    <a:pt x="122" y="42"/>
                  </a:lnTo>
                  <a:lnTo>
                    <a:pt x="121" y="44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0" y="46"/>
                  </a:lnTo>
                  <a:lnTo>
                    <a:pt x="120" y="47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8" y="48"/>
                  </a:lnTo>
                  <a:lnTo>
                    <a:pt x="117" y="48"/>
                  </a:lnTo>
                  <a:lnTo>
                    <a:pt x="117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5" y="48"/>
                  </a:lnTo>
                  <a:lnTo>
                    <a:pt x="114" y="48"/>
                  </a:lnTo>
                  <a:lnTo>
                    <a:pt x="115" y="49"/>
                  </a:lnTo>
                  <a:lnTo>
                    <a:pt x="115" y="51"/>
                  </a:lnTo>
                  <a:lnTo>
                    <a:pt x="114" y="53"/>
                  </a:lnTo>
                  <a:lnTo>
                    <a:pt x="114" y="56"/>
                  </a:lnTo>
                  <a:lnTo>
                    <a:pt x="114" y="58"/>
                  </a:lnTo>
                  <a:lnTo>
                    <a:pt x="114" y="60"/>
                  </a:lnTo>
                  <a:lnTo>
                    <a:pt x="114" y="61"/>
                  </a:lnTo>
                  <a:lnTo>
                    <a:pt x="114" y="62"/>
                  </a:lnTo>
                  <a:lnTo>
                    <a:pt x="115" y="63"/>
                  </a:lnTo>
                  <a:lnTo>
                    <a:pt x="115" y="64"/>
                  </a:lnTo>
                  <a:lnTo>
                    <a:pt x="115" y="65"/>
                  </a:lnTo>
                  <a:lnTo>
                    <a:pt x="116" y="66"/>
                  </a:lnTo>
                  <a:lnTo>
                    <a:pt x="116" y="66"/>
                  </a:lnTo>
                  <a:lnTo>
                    <a:pt x="116" y="68"/>
                  </a:lnTo>
                  <a:lnTo>
                    <a:pt x="115" y="70"/>
                  </a:lnTo>
                  <a:lnTo>
                    <a:pt x="115" y="72"/>
                  </a:lnTo>
                  <a:lnTo>
                    <a:pt x="114" y="74"/>
                  </a:lnTo>
                  <a:lnTo>
                    <a:pt x="113" y="75"/>
                  </a:lnTo>
                  <a:lnTo>
                    <a:pt x="112" y="77"/>
                  </a:lnTo>
                  <a:lnTo>
                    <a:pt x="111" y="78"/>
                  </a:lnTo>
                  <a:lnTo>
                    <a:pt x="110" y="79"/>
                  </a:lnTo>
                  <a:lnTo>
                    <a:pt x="109" y="81"/>
                  </a:lnTo>
                  <a:lnTo>
                    <a:pt x="108" y="82"/>
                  </a:lnTo>
                  <a:lnTo>
                    <a:pt x="107" y="83"/>
                  </a:lnTo>
                  <a:lnTo>
                    <a:pt x="106" y="84"/>
                  </a:lnTo>
                  <a:lnTo>
                    <a:pt x="105" y="85"/>
                  </a:lnTo>
                  <a:lnTo>
                    <a:pt x="104" y="86"/>
                  </a:lnTo>
                  <a:lnTo>
                    <a:pt x="101" y="88"/>
                  </a:lnTo>
                  <a:lnTo>
                    <a:pt x="101" y="89"/>
                  </a:lnTo>
                  <a:lnTo>
                    <a:pt x="102" y="90"/>
                  </a:lnTo>
                  <a:lnTo>
                    <a:pt x="102" y="91"/>
                  </a:lnTo>
                  <a:lnTo>
                    <a:pt x="102" y="92"/>
                  </a:lnTo>
                  <a:lnTo>
                    <a:pt x="103" y="94"/>
                  </a:lnTo>
                  <a:lnTo>
                    <a:pt x="103" y="96"/>
                  </a:lnTo>
                  <a:lnTo>
                    <a:pt x="103" y="98"/>
                  </a:lnTo>
                  <a:lnTo>
                    <a:pt x="103" y="100"/>
                  </a:lnTo>
                  <a:lnTo>
                    <a:pt x="103" y="102"/>
                  </a:lnTo>
                  <a:lnTo>
                    <a:pt x="103" y="105"/>
                  </a:lnTo>
                  <a:lnTo>
                    <a:pt x="103" y="105"/>
                  </a:lnTo>
                  <a:lnTo>
                    <a:pt x="103" y="106"/>
                  </a:lnTo>
                  <a:lnTo>
                    <a:pt x="104" y="106"/>
                  </a:lnTo>
                  <a:lnTo>
                    <a:pt x="104" y="107"/>
                  </a:lnTo>
                  <a:lnTo>
                    <a:pt x="105" y="107"/>
                  </a:lnTo>
                  <a:lnTo>
                    <a:pt x="106" y="107"/>
                  </a:lnTo>
                  <a:lnTo>
                    <a:pt x="107" y="107"/>
                  </a:lnTo>
                  <a:lnTo>
                    <a:pt x="108" y="107"/>
                  </a:lnTo>
                  <a:lnTo>
                    <a:pt x="109" y="107"/>
                  </a:lnTo>
                  <a:lnTo>
                    <a:pt x="111" y="106"/>
                  </a:lnTo>
                  <a:lnTo>
                    <a:pt x="112" y="106"/>
                  </a:lnTo>
                  <a:lnTo>
                    <a:pt x="113" y="106"/>
                  </a:lnTo>
                  <a:lnTo>
                    <a:pt x="114" y="106"/>
                  </a:lnTo>
                  <a:lnTo>
                    <a:pt x="114" y="106"/>
                  </a:lnTo>
                  <a:lnTo>
                    <a:pt x="115" y="108"/>
                  </a:lnTo>
                  <a:lnTo>
                    <a:pt x="115" y="109"/>
                  </a:lnTo>
                  <a:lnTo>
                    <a:pt x="116" y="109"/>
                  </a:lnTo>
                  <a:lnTo>
                    <a:pt x="116" y="110"/>
                  </a:lnTo>
                  <a:lnTo>
                    <a:pt x="117" y="111"/>
                  </a:lnTo>
                  <a:lnTo>
                    <a:pt x="117" y="112"/>
                  </a:lnTo>
                  <a:lnTo>
                    <a:pt x="118" y="113"/>
                  </a:lnTo>
                  <a:lnTo>
                    <a:pt x="119" y="113"/>
                  </a:lnTo>
                  <a:lnTo>
                    <a:pt x="120" y="114"/>
                  </a:lnTo>
                  <a:lnTo>
                    <a:pt x="121" y="114"/>
                  </a:lnTo>
                  <a:lnTo>
                    <a:pt x="122" y="115"/>
                  </a:lnTo>
                  <a:lnTo>
                    <a:pt x="123" y="115"/>
                  </a:lnTo>
                  <a:lnTo>
                    <a:pt x="125" y="115"/>
                  </a:lnTo>
                  <a:lnTo>
                    <a:pt x="126" y="115"/>
                  </a:lnTo>
                  <a:lnTo>
                    <a:pt x="128" y="115"/>
                  </a:lnTo>
                  <a:lnTo>
                    <a:pt x="129" y="115"/>
                  </a:lnTo>
                  <a:lnTo>
                    <a:pt x="130" y="116"/>
                  </a:lnTo>
                  <a:lnTo>
                    <a:pt x="131" y="117"/>
                  </a:lnTo>
                  <a:lnTo>
                    <a:pt x="132" y="118"/>
                  </a:lnTo>
                  <a:lnTo>
                    <a:pt x="132" y="119"/>
                  </a:lnTo>
                  <a:lnTo>
                    <a:pt x="134" y="121"/>
                  </a:lnTo>
                  <a:lnTo>
                    <a:pt x="136" y="123"/>
                  </a:lnTo>
                  <a:lnTo>
                    <a:pt x="139" y="123"/>
                  </a:lnTo>
                  <a:lnTo>
                    <a:pt x="141" y="123"/>
                  </a:lnTo>
                  <a:lnTo>
                    <a:pt x="143" y="123"/>
                  </a:lnTo>
                  <a:lnTo>
                    <a:pt x="144" y="123"/>
                  </a:lnTo>
                  <a:lnTo>
                    <a:pt x="145" y="123"/>
                  </a:lnTo>
                  <a:lnTo>
                    <a:pt x="146" y="123"/>
                  </a:lnTo>
                  <a:lnTo>
                    <a:pt x="147" y="124"/>
                  </a:lnTo>
                  <a:lnTo>
                    <a:pt x="148" y="124"/>
                  </a:lnTo>
                  <a:lnTo>
                    <a:pt x="148" y="124"/>
                  </a:lnTo>
                  <a:lnTo>
                    <a:pt x="149" y="125"/>
                  </a:lnTo>
                  <a:lnTo>
                    <a:pt x="150" y="125"/>
                  </a:lnTo>
                  <a:lnTo>
                    <a:pt x="150" y="126"/>
                  </a:lnTo>
                  <a:lnTo>
                    <a:pt x="151" y="126"/>
                  </a:lnTo>
                  <a:lnTo>
                    <a:pt x="151" y="127"/>
                  </a:lnTo>
                  <a:lnTo>
                    <a:pt x="151" y="128"/>
                  </a:lnTo>
                  <a:lnTo>
                    <a:pt x="151" y="129"/>
                  </a:lnTo>
                  <a:lnTo>
                    <a:pt x="151" y="129"/>
                  </a:lnTo>
                  <a:lnTo>
                    <a:pt x="151" y="130"/>
                  </a:lnTo>
                  <a:lnTo>
                    <a:pt x="151" y="130"/>
                  </a:lnTo>
                  <a:lnTo>
                    <a:pt x="150" y="131"/>
                  </a:lnTo>
                  <a:lnTo>
                    <a:pt x="150" y="132"/>
                  </a:lnTo>
                  <a:lnTo>
                    <a:pt x="149" y="133"/>
                  </a:lnTo>
                  <a:lnTo>
                    <a:pt x="149" y="133"/>
                  </a:lnTo>
                  <a:lnTo>
                    <a:pt x="149" y="134"/>
                  </a:lnTo>
                  <a:lnTo>
                    <a:pt x="149" y="135"/>
                  </a:lnTo>
                  <a:lnTo>
                    <a:pt x="149" y="135"/>
                  </a:lnTo>
                  <a:lnTo>
                    <a:pt x="149" y="136"/>
                  </a:lnTo>
                  <a:lnTo>
                    <a:pt x="147" y="138"/>
                  </a:lnTo>
                  <a:lnTo>
                    <a:pt x="146" y="139"/>
                  </a:lnTo>
                  <a:lnTo>
                    <a:pt x="144" y="141"/>
                  </a:lnTo>
                  <a:lnTo>
                    <a:pt x="142" y="143"/>
                  </a:lnTo>
                  <a:lnTo>
                    <a:pt x="141" y="144"/>
                  </a:lnTo>
                  <a:lnTo>
                    <a:pt x="139" y="146"/>
                  </a:lnTo>
                  <a:lnTo>
                    <a:pt x="136" y="150"/>
                  </a:lnTo>
                  <a:lnTo>
                    <a:pt x="134" y="152"/>
                  </a:lnTo>
                  <a:lnTo>
                    <a:pt x="133" y="154"/>
                  </a:lnTo>
                  <a:lnTo>
                    <a:pt x="131" y="155"/>
                  </a:lnTo>
                  <a:lnTo>
                    <a:pt x="129" y="157"/>
                  </a:lnTo>
                  <a:lnTo>
                    <a:pt x="127" y="159"/>
                  </a:lnTo>
                  <a:lnTo>
                    <a:pt x="125" y="160"/>
                  </a:lnTo>
                  <a:lnTo>
                    <a:pt x="123" y="162"/>
                  </a:lnTo>
                  <a:lnTo>
                    <a:pt x="122" y="162"/>
                  </a:lnTo>
                  <a:lnTo>
                    <a:pt x="121" y="163"/>
                  </a:lnTo>
                  <a:lnTo>
                    <a:pt x="121" y="164"/>
                  </a:lnTo>
                  <a:lnTo>
                    <a:pt x="121" y="165"/>
                  </a:lnTo>
                  <a:lnTo>
                    <a:pt x="121" y="165"/>
                  </a:lnTo>
                  <a:lnTo>
                    <a:pt x="121" y="166"/>
                  </a:lnTo>
                  <a:lnTo>
                    <a:pt x="121" y="166"/>
                  </a:lnTo>
                  <a:lnTo>
                    <a:pt x="121" y="167"/>
                  </a:lnTo>
                  <a:lnTo>
                    <a:pt x="120" y="168"/>
                  </a:lnTo>
                  <a:lnTo>
                    <a:pt x="120" y="169"/>
                  </a:lnTo>
                  <a:lnTo>
                    <a:pt x="119" y="169"/>
                  </a:lnTo>
                  <a:lnTo>
                    <a:pt x="119" y="170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2"/>
                  </a:lnTo>
                  <a:lnTo>
                    <a:pt x="119" y="173"/>
                  </a:lnTo>
                  <a:lnTo>
                    <a:pt x="118" y="173"/>
                  </a:lnTo>
                  <a:lnTo>
                    <a:pt x="117" y="174"/>
                  </a:lnTo>
                  <a:lnTo>
                    <a:pt x="115" y="175"/>
                  </a:lnTo>
                  <a:lnTo>
                    <a:pt x="114" y="176"/>
                  </a:lnTo>
                  <a:lnTo>
                    <a:pt x="112" y="178"/>
                  </a:lnTo>
                  <a:lnTo>
                    <a:pt x="110" y="179"/>
                  </a:lnTo>
                  <a:lnTo>
                    <a:pt x="108" y="180"/>
                  </a:lnTo>
                  <a:lnTo>
                    <a:pt x="106" y="182"/>
                  </a:lnTo>
                  <a:lnTo>
                    <a:pt x="104" y="183"/>
                  </a:lnTo>
                  <a:lnTo>
                    <a:pt x="103" y="183"/>
                  </a:lnTo>
                  <a:lnTo>
                    <a:pt x="102" y="183"/>
                  </a:lnTo>
                  <a:lnTo>
                    <a:pt x="100" y="183"/>
                  </a:lnTo>
                  <a:lnTo>
                    <a:pt x="99" y="183"/>
                  </a:lnTo>
                  <a:lnTo>
                    <a:pt x="97" y="183"/>
                  </a:lnTo>
                  <a:lnTo>
                    <a:pt x="96" y="183"/>
                  </a:lnTo>
                  <a:lnTo>
                    <a:pt x="95" y="183"/>
                  </a:lnTo>
                  <a:lnTo>
                    <a:pt x="94" y="183"/>
                  </a:lnTo>
                  <a:lnTo>
                    <a:pt x="92" y="182"/>
                  </a:lnTo>
                  <a:lnTo>
                    <a:pt x="91" y="182"/>
                  </a:lnTo>
                  <a:lnTo>
                    <a:pt x="90" y="182"/>
                  </a:lnTo>
                  <a:lnTo>
                    <a:pt x="89" y="182"/>
                  </a:lnTo>
                  <a:lnTo>
                    <a:pt x="88" y="182"/>
                  </a:lnTo>
                  <a:lnTo>
                    <a:pt x="87" y="183"/>
                  </a:lnTo>
                  <a:lnTo>
                    <a:pt x="86" y="183"/>
                  </a:lnTo>
                  <a:lnTo>
                    <a:pt x="84" y="185"/>
                  </a:lnTo>
                  <a:lnTo>
                    <a:pt x="83" y="188"/>
                  </a:lnTo>
                  <a:lnTo>
                    <a:pt x="81" y="190"/>
                  </a:lnTo>
                  <a:lnTo>
                    <a:pt x="80" y="192"/>
                  </a:lnTo>
                  <a:lnTo>
                    <a:pt x="79" y="193"/>
                  </a:lnTo>
                  <a:lnTo>
                    <a:pt x="78" y="194"/>
                  </a:lnTo>
                  <a:lnTo>
                    <a:pt x="77" y="195"/>
                  </a:lnTo>
                  <a:lnTo>
                    <a:pt x="76" y="196"/>
                  </a:lnTo>
                  <a:lnTo>
                    <a:pt x="75" y="197"/>
                  </a:lnTo>
                  <a:lnTo>
                    <a:pt x="74" y="198"/>
                  </a:lnTo>
                  <a:lnTo>
                    <a:pt x="72" y="199"/>
                  </a:lnTo>
                  <a:lnTo>
                    <a:pt x="71" y="199"/>
                  </a:lnTo>
                  <a:lnTo>
                    <a:pt x="71" y="199"/>
                  </a:lnTo>
                  <a:lnTo>
                    <a:pt x="70" y="199"/>
                  </a:lnTo>
                  <a:lnTo>
                    <a:pt x="70" y="199"/>
                  </a:lnTo>
                  <a:lnTo>
                    <a:pt x="70" y="199"/>
                  </a:lnTo>
                  <a:lnTo>
                    <a:pt x="69" y="199"/>
                  </a:lnTo>
                  <a:lnTo>
                    <a:pt x="69" y="198"/>
                  </a:lnTo>
                  <a:lnTo>
                    <a:pt x="68" y="197"/>
                  </a:lnTo>
                  <a:lnTo>
                    <a:pt x="68" y="196"/>
                  </a:lnTo>
                  <a:lnTo>
                    <a:pt x="68" y="195"/>
                  </a:lnTo>
                  <a:lnTo>
                    <a:pt x="68" y="194"/>
                  </a:lnTo>
                  <a:lnTo>
                    <a:pt x="68" y="193"/>
                  </a:lnTo>
                  <a:lnTo>
                    <a:pt x="68" y="191"/>
                  </a:lnTo>
                  <a:lnTo>
                    <a:pt x="67" y="190"/>
                  </a:lnTo>
                  <a:lnTo>
                    <a:pt x="65" y="189"/>
                  </a:lnTo>
                  <a:lnTo>
                    <a:pt x="64" y="188"/>
                  </a:lnTo>
                  <a:lnTo>
                    <a:pt x="62" y="187"/>
                  </a:lnTo>
                  <a:lnTo>
                    <a:pt x="59" y="186"/>
                  </a:lnTo>
                  <a:lnTo>
                    <a:pt x="58" y="185"/>
                  </a:lnTo>
                  <a:lnTo>
                    <a:pt x="57" y="184"/>
                  </a:lnTo>
                  <a:lnTo>
                    <a:pt x="55" y="183"/>
                  </a:lnTo>
                  <a:lnTo>
                    <a:pt x="54" y="182"/>
                  </a:lnTo>
                  <a:lnTo>
                    <a:pt x="53" y="181"/>
                  </a:lnTo>
                  <a:lnTo>
                    <a:pt x="52" y="180"/>
                  </a:lnTo>
                  <a:lnTo>
                    <a:pt x="51" y="179"/>
                  </a:lnTo>
                  <a:lnTo>
                    <a:pt x="51" y="178"/>
                  </a:lnTo>
                  <a:lnTo>
                    <a:pt x="50" y="178"/>
                  </a:lnTo>
                  <a:lnTo>
                    <a:pt x="50" y="177"/>
                  </a:lnTo>
                  <a:lnTo>
                    <a:pt x="50" y="176"/>
                  </a:lnTo>
                  <a:lnTo>
                    <a:pt x="50" y="175"/>
                  </a:lnTo>
                  <a:lnTo>
                    <a:pt x="50" y="174"/>
                  </a:lnTo>
                  <a:lnTo>
                    <a:pt x="49" y="173"/>
                  </a:lnTo>
                  <a:lnTo>
                    <a:pt x="49" y="173"/>
                  </a:lnTo>
                  <a:lnTo>
                    <a:pt x="48" y="173"/>
                  </a:lnTo>
                  <a:lnTo>
                    <a:pt x="47" y="173"/>
                  </a:lnTo>
                  <a:lnTo>
                    <a:pt x="46" y="173"/>
                  </a:lnTo>
                  <a:lnTo>
                    <a:pt x="46" y="173"/>
                  </a:lnTo>
                  <a:lnTo>
                    <a:pt x="45" y="173"/>
                  </a:lnTo>
                  <a:lnTo>
                    <a:pt x="45" y="174"/>
                  </a:lnTo>
                  <a:lnTo>
                    <a:pt x="44" y="174"/>
                  </a:lnTo>
                  <a:lnTo>
                    <a:pt x="43" y="174"/>
                  </a:lnTo>
                  <a:lnTo>
                    <a:pt x="43" y="174"/>
                  </a:lnTo>
                  <a:lnTo>
                    <a:pt x="43" y="173"/>
                  </a:lnTo>
                  <a:lnTo>
                    <a:pt x="42" y="173"/>
                  </a:lnTo>
                  <a:lnTo>
                    <a:pt x="42" y="173"/>
                  </a:lnTo>
                  <a:lnTo>
                    <a:pt x="41" y="173"/>
                  </a:lnTo>
                  <a:lnTo>
                    <a:pt x="41" y="172"/>
                  </a:lnTo>
                  <a:lnTo>
                    <a:pt x="40" y="172"/>
                  </a:lnTo>
                  <a:lnTo>
                    <a:pt x="39" y="171"/>
                  </a:lnTo>
                  <a:lnTo>
                    <a:pt x="39" y="170"/>
                  </a:lnTo>
                  <a:lnTo>
                    <a:pt x="39" y="169"/>
                  </a:lnTo>
                  <a:lnTo>
                    <a:pt x="39" y="168"/>
                  </a:lnTo>
                  <a:lnTo>
                    <a:pt x="39" y="167"/>
                  </a:lnTo>
                  <a:lnTo>
                    <a:pt x="39" y="167"/>
                  </a:lnTo>
                  <a:lnTo>
                    <a:pt x="40" y="166"/>
                  </a:lnTo>
                  <a:lnTo>
                    <a:pt x="40" y="164"/>
                  </a:lnTo>
                  <a:lnTo>
                    <a:pt x="40" y="163"/>
                  </a:lnTo>
                  <a:lnTo>
                    <a:pt x="41" y="161"/>
                  </a:lnTo>
                  <a:lnTo>
                    <a:pt x="41" y="161"/>
                  </a:lnTo>
                  <a:lnTo>
                    <a:pt x="41" y="160"/>
                  </a:lnTo>
                  <a:lnTo>
                    <a:pt x="41" y="159"/>
                  </a:lnTo>
                  <a:lnTo>
                    <a:pt x="41" y="158"/>
                  </a:lnTo>
                  <a:lnTo>
                    <a:pt x="42" y="158"/>
                  </a:lnTo>
                  <a:lnTo>
                    <a:pt x="42" y="158"/>
                  </a:lnTo>
                  <a:lnTo>
                    <a:pt x="43" y="158"/>
                  </a:lnTo>
                  <a:lnTo>
                    <a:pt x="43" y="157"/>
                  </a:lnTo>
                  <a:lnTo>
                    <a:pt x="45" y="157"/>
                  </a:lnTo>
                  <a:lnTo>
                    <a:pt x="45" y="156"/>
                  </a:lnTo>
                  <a:lnTo>
                    <a:pt x="46" y="156"/>
                  </a:lnTo>
                  <a:lnTo>
                    <a:pt x="47" y="155"/>
                  </a:lnTo>
                  <a:lnTo>
                    <a:pt x="47" y="154"/>
                  </a:lnTo>
                  <a:lnTo>
                    <a:pt x="48" y="153"/>
                  </a:lnTo>
                  <a:lnTo>
                    <a:pt x="49" y="151"/>
                  </a:lnTo>
                  <a:lnTo>
                    <a:pt x="49" y="150"/>
                  </a:lnTo>
                  <a:lnTo>
                    <a:pt x="50" y="149"/>
                  </a:lnTo>
                  <a:lnTo>
                    <a:pt x="50" y="148"/>
                  </a:lnTo>
                  <a:lnTo>
                    <a:pt x="51" y="147"/>
                  </a:lnTo>
                  <a:lnTo>
                    <a:pt x="52" y="147"/>
                  </a:lnTo>
                  <a:lnTo>
                    <a:pt x="53" y="146"/>
                  </a:lnTo>
                  <a:lnTo>
                    <a:pt x="52" y="144"/>
                  </a:lnTo>
                  <a:lnTo>
                    <a:pt x="52" y="142"/>
                  </a:lnTo>
                  <a:lnTo>
                    <a:pt x="51" y="140"/>
                  </a:lnTo>
                  <a:lnTo>
                    <a:pt x="51" y="138"/>
                  </a:lnTo>
                  <a:lnTo>
                    <a:pt x="50" y="136"/>
                  </a:lnTo>
                  <a:lnTo>
                    <a:pt x="50" y="134"/>
                  </a:lnTo>
                  <a:lnTo>
                    <a:pt x="48" y="130"/>
                  </a:lnTo>
                  <a:lnTo>
                    <a:pt x="47" y="126"/>
                  </a:lnTo>
                  <a:lnTo>
                    <a:pt x="46" y="124"/>
                  </a:lnTo>
                  <a:lnTo>
                    <a:pt x="46" y="122"/>
                  </a:lnTo>
                  <a:lnTo>
                    <a:pt x="45" y="120"/>
                  </a:lnTo>
                  <a:lnTo>
                    <a:pt x="45" y="118"/>
                  </a:lnTo>
                  <a:lnTo>
                    <a:pt x="45" y="115"/>
                  </a:lnTo>
                  <a:lnTo>
                    <a:pt x="45" y="113"/>
                  </a:lnTo>
                  <a:lnTo>
                    <a:pt x="43" y="111"/>
                  </a:lnTo>
                  <a:lnTo>
                    <a:pt x="42" y="109"/>
                  </a:lnTo>
                  <a:lnTo>
                    <a:pt x="40" y="107"/>
                  </a:lnTo>
                  <a:lnTo>
                    <a:pt x="39" y="105"/>
                  </a:lnTo>
                  <a:lnTo>
                    <a:pt x="36" y="102"/>
                  </a:lnTo>
                  <a:lnTo>
                    <a:pt x="33" y="98"/>
                  </a:lnTo>
                  <a:lnTo>
                    <a:pt x="31" y="98"/>
                  </a:lnTo>
                  <a:lnTo>
                    <a:pt x="29" y="98"/>
                  </a:lnTo>
                  <a:lnTo>
                    <a:pt x="28" y="98"/>
                  </a:lnTo>
                  <a:lnTo>
                    <a:pt x="26" y="98"/>
                  </a:lnTo>
                  <a:lnTo>
                    <a:pt x="26" y="97"/>
                  </a:lnTo>
                  <a:lnTo>
                    <a:pt x="25" y="97"/>
                  </a:lnTo>
                  <a:lnTo>
                    <a:pt x="24" y="96"/>
                  </a:lnTo>
                  <a:lnTo>
                    <a:pt x="22" y="95"/>
                  </a:lnTo>
                  <a:lnTo>
                    <a:pt x="21" y="94"/>
                  </a:lnTo>
                  <a:lnTo>
                    <a:pt x="19" y="94"/>
                  </a:lnTo>
                  <a:lnTo>
                    <a:pt x="18" y="93"/>
                  </a:lnTo>
                  <a:lnTo>
                    <a:pt x="16" y="92"/>
                  </a:lnTo>
                  <a:lnTo>
                    <a:pt x="15" y="91"/>
                  </a:lnTo>
                  <a:lnTo>
                    <a:pt x="14" y="91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3" y="89"/>
                  </a:lnTo>
                  <a:lnTo>
                    <a:pt x="13" y="89"/>
                  </a:lnTo>
                  <a:lnTo>
                    <a:pt x="12" y="89"/>
                  </a:lnTo>
                  <a:lnTo>
                    <a:pt x="11" y="88"/>
                  </a:lnTo>
                  <a:lnTo>
                    <a:pt x="9" y="88"/>
                  </a:lnTo>
                  <a:lnTo>
                    <a:pt x="8" y="88"/>
                  </a:lnTo>
                  <a:lnTo>
                    <a:pt x="6" y="88"/>
                  </a:lnTo>
                  <a:lnTo>
                    <a:pt x="5" y="88"/>
                  </a:lnTo>
                  <a:lnTo>
                    <a:pt x="5" y="83"/>
                  </a:lnTo>
                  <a:lnTo>
                    <a:pt x="5" y="83"/>
                  </a:lnTo>
                  <a:lnTo>
                    <a:pt x="5" y="82"/>
                  </a:lnTo>
                  <a:lnTo>
                    <a:pt x="4" y="82"/>
                  </a:lnTo>
                  <a:lnTo>
                    <a:pt x="4" y="82"/>
                  </a:lnTo>
                  <a:lnTo>
                    <a:pt x="4" y="82"/>
                  </a:lnTo>
                  <a:lnTo>
                    <a:pt x="4" y="82"/>
                  </a:lnTo>
                  <a:lnTo>
                    <a:pt x="3" y="82"/>
                  </a:lnTo>
                  <a:lnTo>
                    <a:pt x="3" y="82"/>
                  </a:lnTo>
                  <a:lnTo>
                    <a:pt x="2" y="81"/>
                  </a:lnTo>
                  <a:lnTo>
                    <a:pt x="2" y="81"/>
                  </a:lnTo>
                  <a:lnTo>
                    <a:pt x="1" y="81"/>
                  </a:lnTo>
                  <a:lnTo>
                    <a:pt x="1" y="81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9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8"/>
                  </a:lnTo>
                  <a:lnTo>
                    <a:pt x="1" y="77"/>
                  </a:lnTo>
                  <a:lnTo>
                    <a:pt x="2" y="77"/>
                  </a:lnTo>
                  <a:lnTo>
                    <a:pt x="2" y="77"/>
                  </a:lnTo>
                  <a:lnTo>
                    <a:pt x="3" y="76"/>
                  </a:lnTo>
                  <a:lnTo>
                    <a:pt x="3" y="77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5"/>
                  </a:lnTo>
                  <a:lnTo>
                    <a:pt x="5" y="75"/>
                  </a:lnTo>
                  <a:lnTo>
                    <a:pt x="5" y="75"/>
                  </a:lnTo>
                  <a:lnTo>
                    <a:pt x="5" y="75"/>
                  </a:lnTo>
                  <a:lnTo>
                    <a:pt x="6" y="75"/>
                  </a:lnTo>
                  <a:lnTo>
                    <a:pt x="7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3"/>
                  </a:lnTo>
                  <a:lnTo>
                    <a:pt x="9" y="73"/>
                  </a:lnTo>
                  <a:lnTo>
                    <a:pt x="10" y="73"/>
                  </a:lnTo>
                  <a:lnTo>
                    <a:pt x="10" y="73"/>
                  </a:lnTo>
                  <a:lnTo>
                    <a:pt x="11" y="73"/>
                  </a:lnTo>
                  <a:lnTo>
                    <a:pt x="11" y="73"/>
                  </a:lnTo>
                  <a:lnTo>
                    <a:pt x="12" y="73"/>
                  </a:lnTo>
                  <a:lnTo>
                    <a:pt x="12" y="73"/>
                  </a:lnTo>
                  <a:lnTo>
                    <a:pt x="13" y="72"/>
                  </a:lnTo>
                  <a:lnTo>
                    <a:pt x="13" y="72"/>
                  </a:lnTo>
                  <a:lnTo>
                    <a:pt x="14" y="72"/>
                  </a:lnTo>
                  <a:lnTo>
                    <a:pt x="14" y="71"/>
                  </a:lnTo>
                  <a:lnTo>
                    <a:pt x="14" y="70"/>
                  </a:lnTo>
                  <a:lnTo>
                    <a:pt x="15" y="70"/>
                  </a:lnTo>
                  <a:lnTo>
                    <a:pt x="15" y="69"/>
                  </a:lnTo>
                  <a:lnTo>
                    <a:pt x="16" y="69"/>
                  </a:lnTo>
                  <a:lnTo>
                    <a:pt x="16" y="69"/>
                  </a:lnTo>
                  <a:lnTo>
                    <a:pt x="17" y="68"/>
                  </a:lnTo>
                  <a:lnTo>
                    <a:pt x="17" y="67"/>
                  </a:lnTo>
                  <a:lnTo>
                    <a:pt x="18" y="67"/>
                  </a:lnTo>
                  <a:lnTo>
                    <a:pt x="18" y="66"/>
                  </a:lnTo>
                  <a:lnTo>
                    <a:pt x="18" y="65"/>
                  </a:lnTo>
                  <a:lnTo>
                    <a:pt x="18" y="64"/>
                  </a:lnTo>
                  <a:lnTo>
                    <a:pt x="18" y="64"/>
                  </a:lnTo>
                  <a:lnTo>
                    <a:pt x="18" y="64"/>
                  </a:lnTo>
                  <a:lnTo>
                    <a:pt x="17" y="64"/>
                  </a:lnTo>
                  <a:lnTo>
                    <a:pt x="17" y="63"/>
                  </a:lnTo>
                  <a:lnTo>
                    <a:pt x="17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2"/>
                  </a:lnTo>
                  <a:lnTo>
                    <a:pt x="16" y="62"/>
                  </a:lnTo>
                  <a:lnTo>
                    <a:pt x="16" y="61"/>
                  </a:lnTo>
                  <a:lnTo>
                    <a:pt x="16" y="60"/>
                  </a:lnTo>
                  <a:lnTo>
                    <a:pt x="15" y="60"/>
                  </a:lnTo>
                  <a:lnTo>
                    <a:pt x="15" y="59"/>
                  </a:lnTo>
                  <a:lnTo>
                    <a:pt x="15" y="58"/>
                  </a:lnTo>
                  <a:lnTo>
                    <a:pt x="15" y="58"/>
                  </a:lnTo>
                  <a:lnTo>
                    <a:pt x="15" y="57"/>
                  </a:lnTo>
                  <a:lnTo>
                    <a:pt x="14" y="57"/>
                  </a:lnTo>
                  <a:lnTo>
                    <a:pt x="14" y="57"/>
                  </a:lnTo>
                  <a:lnTo>
                    <a:pt x="14" y="57"/>
                  </a:lnTo>
                  <a:lnTo>
                    <a:pt x="14" y="57"/>
                  </a:lnTo>
                  <a:lnTo>
                    <a:pt x="13" y="56"/>
                  </a:lnTo>
                  <a:lnTo>
                    <a:pt x="13" y="56"/>
                  </a:lnTo>
                  <a:lnTo>
                    <a:pt x="13" y="56"/>
                  </a:lnTo>
                  <a:lnTo>
                    <a:pt x="13" y="55"/>
                  </a:lnTo>
                  <a:lnTo>
                    <a:pt x="14" y="55"/>
                  </a:lnTo>
                  <a:lnTo>
                    <a:pt x="14" y="54"/>
                  </a:lnTo>
                  <a:lnTo>
                    <a:pt x="15" y="53"/>
                  </a:lnTo>
                  <a:lnTo>
                    <a:pt x="16" y="52"/>
                  </a:lnTo>
                  <a:lnTo>
                    <a:pt x="17" y="51"/>
                  </a:lnTo>
                  <a:lnTo>
                    <a:pt x="18" y="51"/>
                  </a:lnTo>
                  <a:lnTo>
                    <a:pt x="18" y="50"/>
                  </a:lnTo>
                  <a:lnTo>
                    <a:pt x="19" y="50"/>
                  </a:lnTo>
                  <a:lnTo>
                    <a:pt x="19" y="49"/>
                  </a:lnTo>
                  <a:lnTo>
                    <a:pt x="19" y="48"/>
                  </a:lnTo>
                  <a:lnTo>
                    <a:pt x="25" y="48"/>
                  </a:lnTo>
                  <a:lnTo>
                    <a:pt x="24" y="49"/>
                  </a:lnTo>
                  <a:lnTo>
                    <a:pt x="24" y="49"/>
                  </a:lnTo>
                  <a:lnTo>
                    <a:pt x="25" y="49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36" y="50"/>
                  </a:lnTo>
                  <a:lnTo>
                    <a:pt x="37" y="50"/>
                  </a:lnTo>
                  <a:lnTo>
                    <a:pt x="37" y="50"/>
                  </a:lnTo>
                  <a:lnTo>
                    <a:pt x="37" y="50"/>
                  </a:lnTo>
                  <a:lnTo>
                    <a:pt x="37" y="50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8" y="48"/>
                  </a:lnTo>
                  <a:lnTo>
                    <a:pt x="38" y="48"/>
                  </a:lnTo>
                  <a:lnTo>
                    <a:pt x="38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9" y="46"/>
                  </a:lnTo>
                  <a:lnTo>
                    <a:pt x="39" y="45"/>
                  </a:lnTo>
                  <a:lnTo>
                    <a:pt x="39" y="44"/>
                  </a:lnTo>
                  <a:lnTo>
                    <a:pt x="39" y="43"/>
                  </a:lnTo>
                  <a:lnTo>
                    <a:pt x="40" y="43"/>
                  </a:lnTo>
                  <a:lnTo>
                    <a:pt x="39" y="42"/>
                  </a:lnTo>
                  <a:lnTo>
                    <a:pt x="39" y="42"/>
                  </a:lnTo>
                  <a:lnTo>
                    <a:pt x="39" y="42"/>
                  </a:lnTo>
                  <a:lnTo>
                    <a:pt x="39" y="42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7" y="42"/>
                  </a:lnTo>
                  <a:lnTo>
                    <a:pt x="37" y="42"/>
                  </a:lnTo>
                  <a:lnTo>
                    <a:pt x="37" y="42"/>
                  </a:lnTo>
                  <a:lnTo>
                    <a:pt x="36" y="42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4" y="40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2" y="40"/>
                  </a:lnTo>
                  <a:lnTo>
                    <a:pt x="32" y="39"/>
                  </a:lnTo>
                  <a:lnTo>
                    <a:pt x="31" y="39"/>
                  </a:lnTo>
                  <a:lnTo>
                    <a:pt x="30" y="39"/>
                  </a:lnTo>
                  <a:lnTo>
                    <a:pt x="30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8" y="37"/>
                  </a:lnTo>
                  <a:lnTo>
                    <a:pt x="28" y="37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6" y="37"/>
                  </a:lnTo>
                  <a:lnTo>
                    <a:pt x="26" y="37"/>
                  </a:lnTo>
                  <a:lnTo>
                    <a:pt x="26" y="36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3" y="36"/>
                  </a:lnTo>
                  <a:lnTo>
                    <a:pt x="23" y="35"/>
                  </a:lnTo>
                  <a:lnTo>
                    <a:pt x="23" y="35"/>
                  </a:lnTo>
                  <a:lnTo>
                    <a:pt x="23" y="35"/>
                  </a:lnTo>
                  <a:lnTo>
                    <a:pt x="24" y="35"/>
                  </a:lnTo>
                  <a:lnTo>
                    <a:pt x="26" y="34"/>
                  </a:lnTo>
                  <a:lnTo>
                    <a:pt x="27" y="34"/>
                  </a:lnTo>
                  <a:lnTo>
                    <a:pt x="28" y="33"/>
                  </a:lnTo>
                  <a:lnTo>
                    <a:pt x="29" y="33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31" y="31"/>
                  </a:lnTo>
                  <a:lnTo>
                    <a:pt x="31" y="30"/>
                  </a:lnTo>
                  <a:lnTo>
                    <a:pt x="31" y="30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29" y="28"/>
                  </a:lnTo>
                  <a:lnTo>
                    <a:pt x="29" y="28"/>
                  </a:lnTo>
                  <a:lnTo>
                    <a:pt x="29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6" y="27"/>
                  </a:lnTo>
                  <a:lnTo>
                    <a:pt x="25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3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6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3" y="25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23" y="21"/>
                  </a:lnTo>
                  <a:lnTo>
                    <a:pt x="23" y="21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4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3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9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5" y="18"/>
                  </a:lnTo>
                  <a:lnTo>
                    <a:pt x="39" y="18"/>
                  </a:lnTo>
                  <a:lnTo>
                    <a:pt x="44" y="18"/>
                  </a:lnTo>
                  <a:lnTo>
                    <a:pt x="48" y="18"/>
                  </a:lnTo>
                  <a:lnTo>
                    <a:pt x="49" y="18"/>
                  </a:lnTo>
                  <a:lnTo>
                    <a:pt x="50" y="18"/>
                  </a:lnTo>
                  <a:lnTo>
                    <a:pt x="51" y="18"/>
                  </a:lnTo>
                  <a:lnTo>
                    <a:pt x="52" y="18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7" y="17"/>
                  </a:lnTo>
                  <a:lnTo>
                    <a:pt x="58" y="17"/>
                  </a:lnTo>
                  <a:lnTo>
                    <a:pt x="59" y="17"/>
                  </a:lnTo>
                  <a:lnTo>
                    <a:pt x="59" y="16"/>
                  </a:lnTo>
                  <a:lnTo>
                    <a:pt x="60" y="16"/>
                  </a:lnTo>
                  <a:lnTo>
                    <a:pt x="62" y="15"/>
                  </a:lnTo>
                  <a:lnTo>
                    <a:pt x="62" y="15"/>
                  </a:lnTo>
                  <a:lnTo>
                    <a:pt x="63" y="15"/>
                  </a:lnTo>
                  <a:lnTo>
                    <a:pt x="63" y="15"/>
                  </a:lnTo>
                  <a:lnTo>
                    <a:pt x="64" y="15"/>
                  </a:lnTo>
                  <a:lnTo>
                    <a:pt x="65" y="15"/>
                  </a:lnTo>
                  <a:lnTo>
                    <a:pt x="66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8" y="13"/>
                  </a:lnTo>
                  <a:lnTo>
                    <a:pt x="69" y="13"/>
                  </a:lnTo>
                  <a:lnTo>
                    <a:pt x="69" y="14"/>
                  </a:lnTo>
                  <a:lnTo>
                    <a:pt x="70" y="14"/>
                  </a:lnTo>
                  <a:lnTo>
                    <a:pt x="71" y="14"/>
                  </a:lnTo>
                  <a:lnTo>
                    <a:pt x="72" y="13"/>
                  </a:lnTo>
                  <a:lnTo>
                    <a:pt x="73" y="13"/>
                  </a:lnTo>
                  <a:lnTo>
                    <a:pt x="74" y="13"/>
                  </a:lnTo>
                  <a:lnTo>
                    <a:pt x="75" y="12"/>
                  </a:lnTo>
                  <a:lnTo>
                    <a:pt x="75" y="12"/>
                  </a:lnTo>
                  <a:lnTo>
                    <a:pt x="77" y="11"/>
                  </a:lnTo>
                  <a:lnTo>
                    <a:pt x="78" y="11"/>
                  </a:lnTo>
                  <a:lnTo>
                    <a:pt x="79" y="10"/>
                  </a:lnTo>
                  <a:lnTo>
                    <a:pt x="79" y="10"/>
                  </a:lnTo>
                  <a:lnTo>
                    <a:pt x="80" y="10"/>
                  </a:lnTo>
                  <a:lnTo>
                    <a:pt x="82" y="10"/>
                  </a:lnTo>
                  <a:lnTo>
                    <a:pt x="83" y="10"/>
                  </a:lnTo>
                  <a:lnTo>
                    <a:pt x="83" y="10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4" y="11"/>
                  </a:lnTo>
                  <a:lnTo>
                    <a:pt x="84" y="11"/>
                  </a:lnTo>
                  <a:lnTo>
                    <a:pt x="85" y="11"/>
                  </a:lnTo>
                  <a:lnTo>
                    <a:pt x="85" y="12"/>
                  </a:lnTo>
                  <a:lnTo>
                    <a:pt x="86" y="12"/>
                  </a:lnTo>
                  <a:lnTo>
                    <a:pt x="87" y="12"/>
                  </a:lnTo>
                  <a:lnTo>
                    <a:pt x="88" y="12"/>
                  </a:lnTo>
                  <a:lnTo>
                    <a:pt x="90" y="12"/>
                  </a:lnTo>
                  <a:lnTo>
                    <a:pt x="92" y="12"/>
                  </a:lnTo>
                  <a:lnTo>
                    <a:pt x="94" y="12"/>
                  </a:lnTo>
                  <a:lnTo>
                    <a:pt x="96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7" y="11"/>
                  </a:lnTo>
                  <a:lnTo>
                    <a:pt x="98" y="11"/>
                  </a:lnTo>
                  <a:lnTo>
                    <a:pt x="98" y="11"/>
                  </a:lnTo>
                  <a:lnTo>
                    <a:pt x="98" y="10"/>
                  </a:lnTo>
                  <a:lnTo>
                    <a:pt x="98" y="10"/>
                  </a:lnTo>
                  <a:lnTo>
                    <a:pt x="98" y="10"/>
                  </a:lnTo>
                  <a:lnTo>
                    <a:pt x="99" y="10"/>
                  </a:lnTo>
                  <a:lnTo>
                    <a:pt x="99" y="10"/>
                  </a:lnTo>
                  <a:lnTo>
                    <a:pt x="99" y="10"/>
                  </a:lnTo>
                  <a:lnTo>
                    <a:pt x="99" y="9"/>
                  </a:lnTo>
                  <a:lnTo>
                    <a:pt x="99" y="9"/>
                  </a:lnTo>
                  <a:lnTo>
                    <a:pt x="99" y="9"/>
                  </a:lnTo>
                  <a:lnTo>
                    <a:pt x="99" y="8"/>
                  </a:lnTo>
                  <a:lnTo>
                    <a:pt x="99" y="7"/>
                  </a:lnTo>
                  <a:lnTo>
                    <a:pt x="99" y="7"/>
                  </a:lnTo>
                  <a:lnTo>
                    <a:pt x="99" y="6"/>
                  </a:lnTo>
                  <a:lnTo>
                    <a:pt x="99" y="5"/>
                  </a:lnTo>
                  <a:lnTo>
                    <a:pt x="100" y="5"/>
                  </a:lnTo>
                  <a:lnTo>
                    <a:pt x="100" y="5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1" y="4"/>
                  </a:lnTo>
                  <a:lnTo>
                    <a:pt x="101" y="4"/>
                  </a:lnTo>
                  <a:lnTo>
                    <a:pt x="101" y="4"/>
                  </a:lnTo>
                  <a:lnTo>
                    <a:pt x="101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4" y="3"/>
                  </a:lnTo>
                  <a:lnTo>
                    <a:pt x="104" y="3"/>
                  </a:lnTo>
                  <a:lnTo>
                    <a:pt x="104" y="3"/>
                  </a:lnTo>
                  <a:lnTo>
                    <a:pt x="104" y="3"/>
                  </a:lnTo>
                  <a:lnTo>
                    <a:pt x="104" y="2"/>
                  </a:lnTo>
                  <a:lnTo>
                    <a:pt x="104" y="2"/>
                  </a:lnTo>
                  <a:lnTo>
                    <a:pt x="104" y="2"/>
                  </a:lnTo>
                  <a:lnTo>
                    <a:pt x="105" y="2"/>
                  </a:lnTo>
                  <a:lnTo>
                    <a:pt x="106" y="2"/>
                  </a:lnTo>
                  <a:lnTo>
                    <a:pt x="107" y="2"/>
                  </a:lnTo>
                  <a:lnTo>
                    <a:pt x="108" y="2"/>
                  </a:lnTo>
                  <a:lnTo>
                    <a:pt x="108" y="2"/>
                  </a:lnTo>
                  <a:lnTo>
                    <a:pt x="108" y="2"/>
                  </a:lnTo>
                  <a:lnTo>
                    <a:pt x="109" y="1"/>
                  </a:lnTo>
                  <a:lnTo>
                    <a:pt x="109" y="1"/>
                  </a:lnTo>
                  <a:lnTo>
                    <a:pt x="109" y="1"/>
                  </a:lnTo>
                  <a:lnTo>
                    <a:pt x="109" y="1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9" y="0"/>
                  </a:lnTo>
                  <a:moveTo>
                    <a:pt x="11" y="85"/>
                  </a:moveTo>
                  <a:lnTo>
                    <a:pt x="11" y="85"/>
                  </a:lnTo>
                  <a:lnTo>
                    <a:pt x="11" y="85"/>
                  </a:lnTo>
                  <a:lnTo>
                    <a:pt x="10" y="85"/>
                  </a:lnTo>
                  <a:lnTo>
                    <a:pt x="10" y="85"/>
                  </a:lnTo>
                  <a:lnTo>
                    <a:pt x="9" y="85"/>
                  </a:lnTo>
                  <a:lnTo>
                    <a:pt x="9" y="86"/>
                  </a:lnTo>
                  <a:lnTo>
                    <a:pt x="9" y="86"/>
                  </a:lnTo>
                  <a:lnTo>
                    <a:pt x="9" y="86"/>
                  </a:lnTo>
                  <a:lnTo>
                    <a:pt x="9" y="86"/>
                  </a:lnTo>
                  <a:lnTo>
                    <a:pt x="9" y="86"/>
                  </a:lnTo>
                  <a:lnTo>
                    <a:pt x="10" y="87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1" y="86"/>
                  </a:lnTo>
                  <a:lnTo>
                    <a:pt x="11" y="86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</a:path>
              </a:pathLst>
            </a:custGeom>
            <a:grpFill/>
            <a:ln w="3175" cap="flat" cmpd="sng">
              <a:solidFill>
                <a:schemeClr val="accent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algn="ctr" defTabSz="781394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800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42" name="Freeform 4"/>
            <p:cNvSpPr>
              <a:spLocks/>
            </p:cNvSpPr>
            <p:nvPr/>
          </p:nvSpPr>
          <p:spPr bwMode="auto">
            <a:xfrm>
              <a:off x="2905476" y="2173725"/>
              <a:ext cx="1241967" cy="905070"/>
            </a:xfrm>
            <a:custGeom>
              <a:avLst/>
              <a:gdLst/>
              <a:ahLst/>
              <a:cxnLst>
                <a:cxn ang="0">
                  <a:pos x="81" y="1"/>
                </a:cxn>
                <a:cxn ang="0">
                  <a:pos x="88" y="6"/>
                </a:cxn>
                <a:cxn ang="0">
                  <a:pos x="92" y="10"/>
                </a:cxn>
                <a:cxn ang="0">
                  <a:pos x="93" y="9"/>
                </a:cxn>
                <a:cxn ang="0">
                  <a:pos x="113" y="11"/>
                </a:cxn>
                <a:cxn ang="0">
                  <a:pos x="118" y="15"/>
                </a:cxn>
                <a:cxn ang="0">
                  <a:pos x="123" y="21"/>
                </a:cxn>
                <a:cxn ang="0">
                  <a:pos x="128" y="19"/>
                </a:cxn>
                <a:cxn ang="0">
                  <a:pos x="136" y="19"/>
                </a:cxn>
                <a:cxn ang="0">
                  <a:pos x="143" y="24"/>
                </a:cxn>
                <a:cxn ang="0">
                  <a:pos x="152" y="25"/>
                </a:cxn>
                <a:cxn ang="0">
                  <a:pos x="157" y="27"/>
                </a:cxn>
                <a:cxn ang="0">
                  <a:pos x="163" y="33"/>
                </a:cxn>
                <a:cxn ang="0">
                  <a:pos x="165" y="42"/>
                </a:cxn>
                <a:cxn ang="0">
                  <a:pos x="163" y="52"/>
                </a:cxn>
                <a:cxn ang="0">
                  <a:pos x="162" y="61"/>
                </a:cxn>
                <a:cxn ang="0">
                  <a:pos x="160" y="66"/>
                </a:cxn>
                <a:cxn ang="0">
                  <a:pos x="159" y="69"/>
                </a:cxn>
                <a:cxn ang="0">
                  <a:pos x="162" y="74"/>
                </a:cxn>
                <a:cxn ang="0">
                  <a:pos x="153" y="80"/>
                </a:cxn>
                <a:cxn ang="0">
                  <a:pos x="142" y="89"/>
                </a:cxn>
                <a:cxn ang="0">
                  <a:pos x="137" y="93"/>
                </a:cxn>
                <a:cxn ang="0">
                  <a:pos x="132" y="96"/>
                </a:cxn>
                <a:cxn ang="0">
                  <a:pos x="129" y="101"/>
                </a:cxn>
                <a:cxn ang="0">
                  <a:pos x="122" y="102"/>
                </a:cxn>
                <a:cxn ang="0">
                  <a:pos x="118" y="99"/>
                </a:cxn>
                <a:cxn ang="0">
                  <a:pos x="116" y="95"/>
                </a:cxn>
                <a:cxn ang="0">
                  <a:pos x="109" y="97"/>
                </a:cxn>
                <a:cxn ang="0">
                  <a:pos x="104" y="103"/>
                </a:cxn>
                <a:cxn ang="0">
                  <a:pos x="100" y="112"/>
                </a:cxn>
                <a:cxn ang="0">
                  <a:pos x="87" y="111"/>
                </a:cxn>
                <a:cxn ang="0">
                  <a:pos x="78" y="109"/>
                </a:cxn>
                <a:cxn ang="0">
                  <a:pos x="75" y="104"/>
                </a:cxn>
                <a:cxn ang="0">
                  <a:pos x="71" y="102"/>
                </a:cxn>
                <a:cxn ang="0">
                  <a:pos x="64" y="98"/>
                </a:cxn>
                <a:cxn ang="0">
                  <a:pos x="58" y="96"/>
                </a:cxn>
                <a:cxn ang="0">
                  <a:pos x="52" y="100"/>
                </a:cxn>
                <a:cxn ang="0">
                  <a:pos x="46" y="98"/>
                </a:cxn>
                <a:cxn ang="0">
                  <a:pos x="33" y="95"/>
                </a:cxn>
                <a:cxn ang="0">
                  <a:pos x="24" y="89"/>
                </a:cxn>
                <a:cxn ang="0">
                  <a:pos x="16" y="85"/>
                </a:cxn>
                <a:cxn ang="0">
                  <a:pos x="11" y="80"/>
                </a:cxn>
                <a:cxn ang="0">
                  <a:pos x="3" y="80"/>
                </a:cxn>
                <a:cxn ang="0">
                  <a:pos x="1" y="68"/>
                </a:cxn>
                <a:cxn ang="0">
                  <a:pos x="5" y="58"/>
                </a:cxn>
                <a:cxn ang="0">
                  <a:pos x="13" y="48"/>
                </a:cxn>
                <a:cxn ang="0">
                  <a:pos x="19" y="41"/>
                </a:cxn>
                <a:cxn ang="0">
                  <a:pos x="27" y="40"/>
                </a:cxn>
                <a:cxn ang="0">
                  <a:pos x="35" y="37"/>
                </a:cxn>
                <a:cxn ang="0">
                  <a:pos x="44" y="36"/>
                </a:cxn>
                <a:cxn ang="0">
                  <a:pos x="56" y="27"/>
                </a:cxn>
                <a:cxn ang="0">
                  <a:pos x="59" y="24"/>
                </a:cxn>
                <a:cxn ang="0">
                  <a:pos x="58" y="21"/>
                </a:cxn>
                <a:cxn ang="0">
                  <a:pos x="55" y="15"/>
                </a:cxn>
                <a:cxn ang="0">
                  <a:pos x="55" y="11"/>
                </a:cxn>
                <a:cxn ang="0">
                  <a:pos x="58" y="4"/>
                </a:cxn>
                <a:cxn ang="0">
                  <a:pos x="67" y="2"/>
                </a:cxn>
                <a:cxn ang="0">
                  <a:pos x="75" y="2"/>
                </a:cxn>
              </a:cxnLst>
              <a:rect l="0" t="0" r="r" b="b"/>
              <a:pathLst>
                <a:path w="166" h="112">
                  <a:moveTo>
                    <a:pt x="75" y="1"/>
                  </a:moveTo>
                  <a:lnTo>
                    <a:pt x="76" y="0"/>
                  </a:lnTo>
                  <a:lnTo>
                    <a:pt x="77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9" y="0"/>
                  </a:lnTo>
                  <a:lnTo>
                    <a:pt x="80" y="0"/>
                  </a:lnTo>
                  <a:lnTo>
                    <a:pt x="81" y="1"/>
                  </a:lnTo>
                  <a:lnTo>
                    <a:pt x="82" y="1"/>
                  </a:lnTo>
                  <a:lnTo>
                    <a:pt x="83" y="2"/>
                  </a:lnTo>
                  <a:lnTo>
                    <a:pt x="84" y="2"/>
                  </a:lnTo>
                  <a:lnTo>
                    <a:pt x="85" y="3"/>
                  </a:lnTo>
                  <a:lnTo>
                    <a:pt x="85" y="4"/>
                  </a:lnTo>
                  <a:lnTo>
                    <a:pt x="86" y="5"/>
                  </a:lnTo>
                  <a:lnTo>
                    <a:pt x="87" y="6"/>
                  </a:lnTo>
                  <a:lnTo>
                    <a:pt x="88" y="6"/>
                  </a:lnTo>
                  <a:lnTo>
                    <a:pt x="89" y="7"/>
                  </a:lnTo>
                  <a:lnTo>
                    <a:pt x="90" y="8"/>
                  </a:lnTo>
                  <a:lnTo>
                    <a:pt x="91" y="8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2" y="10"/>
                  </a:lnTo>
                  <a:lnTo>
                    <a:pt x="92" y="10"/>
                  </a:lnTo>
                  <a:lnTo>
                    <a:pt x="92" y="10"/>
                  </a:lnTo>
                  <a:lnTo>
                    <a:pt x="92" y="10"/>
                  </a:lnTo>
                  <a:lnTo>
                    <a:pt x="93" y="10"/>
                  </a:lnTo>
                  <a:lnTo>
                    <a:pt x="93" y="10"/>
                  </a:lnTo>
                  <a:lnTo>
                    <a:pt x="93" y="10"/>
                  </a:lnTo>
                  <a:lnTo>
                    <a:pt x="93" y="10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95" y="9"/>
                  </a:lnTo>
                  <a:lnTo>
                    <a:pt x="98" y="9"/>
                  </a:lnTo>
                  <a:lnTo>
                    <a:pt x="102" y="10"/>
                  </a:lnTo>
                  <a:lnTo>
                    <a:pt x="104" y="10"/>
                  </a:lnTo>
                  <a:lnTo>
                    <a:pt x="107" y="10"/>
                  </a:lnTo>
                  <a:lnTo>
                    <a:pt x="109" y="10"/>
                  </a:lnTo>
                  <a:lnTo>
                    <a:pt x="111" y="11"/>
                  </a:lnTo>
                  <a:lnTo>
                    <a:pt x="113" y="11"/>
                  </a:lnTo>
                  <a:lnTo>
                    <a:pt x="114" y="11"/>
                  </a:lnTo>
                  <a:lnTo>
                    <a:pt x="114" y="12"/>
                  </a:lnTo>
                  <a:lnTo>
                    <a:pt x="115" y="12"/>
                  </a:lnTo>
                  <a:lnTo>
                    <a:pt x="116" y="13"/>
                  </a:lnTo>
                  <a:lnTo>
                    <a:pt x="117" y="13"/>
                  </a:lnTo>
                  <a:lnTo>
                    <a:pt x="117" y="14"/>
                  </a:lnTo>
                  <a:lnTo>
                    <a:pt x="118" y="14"/>
                  </a:lnTo>
                  <a:lnTo>
                    <a:pt x="118" y="15"/>
                  </a:lnTo>
                  <a:lnTo>
                    <a:pt x="119" y="16"/>
                  </a:lnTo>
                  <a:lnTo>
                    <a:pt x="119" y="16"/>
                  </a:lnTo>
                  <a:lnTo>
                    <a:pt x="119" y="17"/>
                  </a:lnTo>
                  <a:lnTo>
                    <a:pt x="120" y="18"/>
                  </a:lnTo>
                  <a:lnTo>
                    <a:pt x="120" y="19"/>
                  </a:lnTo>
                  <a:lnTo>
                    <a:pt x="120" y="21"/>
                  </a:lnTo>
                  <a:lnTo>
                    <a:pt x="122" y="21"/>
                  </a:lnTo>
                  <a:lnTo>
                    <a:pt x="123" y="21"/>
                  </a:lnTo>
                  <a:lnTo>
                    <a:pt x="125" y="21"/>
                  </a:lnTo>
                  <a:lnTo>
                    <a:pt x="127" y="21"/>
                  </a:lnTo>
                  <a:lnTo>
                    <a:pt x="127" y="21"/>
                  </a:lnTo>
                  <a:lnTo>
                    <a:pt x="127" y="21"/>
                  </a:lnTo>
                  <a:lnTo>
                    <a:pt x="128" y="20"/>
                  </a:lnTo>
                  <a:lnTo>
                    <a:pt x="128" y="20"/>
                  </a:lnTo>
                  <a:lnTo>
                    <a:pt x="128" y="20"/>
                  </a:lnTo>
                  <a:lnTo>
                    <a:pt x="128" y="19"/>
                  </a:lnTo>
                  <a:lnTo>
                    <a:pt x="128" y="19"/>
                  </a:lnTo>
                  <a:lnTo>
                    <a:pt x="128" y="19"/>
                  </a:lnTo>
                  <a:lnTo>
                    <a:pt x="130" y="19"/>
                  </a:lnTo>
                  <a:lnTo>
                    <a:pt x="132" y="19"/>
                  </a:lnTo>
                  <a:lnTo>
                    <a:pt x="133" y="19"/>
                  </a:lnTo>
                  <a:lnTo>
                    <a:pt x="135" y="19"/>
                  </a:lnTo>
                  <a:lnTo>
                    <a:pt x="135" y="19"/>
                  </a:lnTo>
                  <a:lnTo>
                    <a:pt x="136" y="19"/>
                  </a:lnTo>
                  <a:lnTo>
                    <a:pt x="136" y="19"/>
                  </a:lnTo>
                  <a:lnTo>
                    <a:pt x="137" y="19"/>
                  </a:lnTo>
                  <a:lnTo>
                    <a:pt x="138" y="19"/>
                  </a:lnTo>
                  <a:lnTo>
                    <a:pt x="138" y="20"/>
                  </a:lnTo>
                  <a:lnTo>
                    <a:pt x="140" y="21"/>
                  </a:lnTo>
                  <a:lnTo>
                    <a:pt x="141" y="22"/>
                  </a:lnTo>
                  <a:lnTo>
                    <a:pt x="142" y="23"/>
                  </a:lnTo>
                  <a:lnTo>
                    <a:pt x="143" y="24"/>
                  </a:lnTo>
                  <a:lnTo>
                    <a:pt x="144" y="24"/>
                  </a:lnTo>
                  <a:lnTo>
                    <a:pt x="145" y="25"/>
                  </a:lnTo>
                  <a:lnTo>
                    <a:pt x="146" y="25"/>
                  </a:lnTo>
                  <a:lnTo>
                    <a:pt x="147" y="25"/>
                  </a:lnTo>
                  <a:lnTo>
                    <a:pt x="148" y="26"/>
                  </a:lnTo>
                  <a:lnTo>
                    <a:pt x="149" y="26"/>
                  </a:lnTo>
                  <a:lnTo>
                    <a:pt x="150" y="26"/>
                  </a:lnTo>
                  <a:lnTo>
                    <a:pt x="152" y="25"/>
                  </a:lnTo>
                  <a:lnTo>
                    <a:pt x="152" y="25"/>
                  </a:lnTo>
                  <a:lnTo>
                    <a:pt x="152" y="25"/>
                  </a:lnTo>
                  <a:lnTo>
                    <a:pt x="153" y="25"/>
                  </a:lnTo>
                  <a:lnTo>
                    <a:pt x="153" y="25"/>
                  </a:lnTo>
                  <a:lnTo>
                    <a:pt x="154" y="26"/>
                  </a:lnTo>
                  <a:lnTo>
                    <a:pt x="156" y="26"/>
                  </a:lnTo>
                  <a:lnTo>
                    <a:pt x="156" y="26"/>
                  </a:lnTo>
                  <a:lnTo>
                    <a:pt x="157" y="27"/>
                  </a:lnTo>
                  <a:lnTo>
                    <a:pt x="158" y="27"/>
                  </a:lnTo>
                  <a:lnTo>
                    <a:pt x="159" y="28"/>
                  </a:lnTo>
                  <a:lnTo>
                    <a:pt x="159" y="28"/>
                  </a:lnTo>
                  <a:lnTo>
                    <a:pt x="160" y="29"/>
                  </a:lnTo>
                  <a:lnTo>
                    <a:pt x="161" y="30"/>
                  </a:lnTo>
                  <a:lnTo>
                    <a:pt x="161" y="31"/>
                  </a:lnTo>
                  <a:lnTo>
                    <a:pt x="162" y="32"/>
                  </a:lnTo>
                  <a:lnTo>
                    <a:pt x="163" y="33"/>
                  </a:lnTo>
                  <a:lnTo>
                    <a:pt x="163" y="33"/>
                  </a:lnTo>
                  <a:lnTo>
                    <a:pt x="164" y="33"/>
                  </a:lnTo>
                  <a:lnTo>
                    <a:pt x="165" y="34"/>
                  </a:lnTo>
                  <a:lnTo>
                    <a:pt x="165" y="36"/>
                  </a:lnTo>
                  <a:lnTo>
                    <a:pt x="165" y="37"/>
                  </a:lnTo>
                  <a:lnTo>
                    <a:pt x="166" y="39"/>
                  </a:lnTo>
                  <a:lnTo>
                    <a:pt x="165" y="41"/>
                  </a:lnTo>
                  <a:lnTo>
                    <a:pt x="165" y="42"/>
                  </a:lnTo>
                  <a:lnTo>
                    <a:pt x="165" y="44"/>
                  </a:lnTo>
                  <a:lnTo>
                    <a:pt x="165" y="45"/>
                  </a:lnTo>
                  <a:lnTo>
                    <a:pt x="165" y="47"/>
                  </a:lnTo>
                  <a:lnTo>
                    <a:pt x="164" y="48"/>
                  </a:lnTo>
                  <a:lnTo>
                    <a:pt x="164" y="49"/>
                  </a:lnTo>
                  <a:lnTo>
                    <a:pt x="163" y="50"/>
                  </a:lnTo>
                  <a:lnTo>
                    <a:pt x="163" y="51"/>
                  </a:lnTo>
                  <a:lnTo>
                    <a:pt x="163" y="52"/>
                  </a:lnTo>
                  <a:lnTo>
                    <a:pt x="162" y="53"/>
                  </a:lnTo>
                  <a:lnTo>
                    <a:pt x="162" y="54"/>
                  </a:lnTo>
                  <a:lnTo>
                    <a:pt x="162" y="56"/>
                  </a:lnTo>
                  <a:lnTo>
                    <a:pt x="161" y="56"/>
                  </a:lnTo>
                  <a:lnTo>
                    <a:pt x="161" y="57"/>
                  </a:lnTo>
                  <a:lnTo>
                    <a:pt x="161" y="58"/>
                  </a:lnTo>
                  <a:lnTo>
                    <a:pt x="161" y="59"/>
                  </a:lnTo>
                  <a:lnTo>
                    <a:pt x="162" y="61"/>
                  </a:lnTo>
                  <a:lnTo>
                    <a:pt x="162" y="62"/>
                  </a:lnTo>
                  <a:lnTo>
                    <a:pt x="162" y="63"/>
                  </a:lnTo>
                  <a:lnTo>
                    <a:pt x="162" y="63"/>
                  </a:lnTo>
                  <a:lnTo>
                    <a:pt x="161" y="64"/>
                  </a:lnTo>
                  <a:lnTo>
                    <a:pt x="161" y="65"/>
                  </a:lnTo>
                  <a:lnTo>
                    <a:pt x="161" y="65"/>
                  </a:lnTo>
                  <a:lnTo>
                    <a:pt x="161" y="66"/>
                  </a:lnTo>
                  <a:lnTo>
                    <a:pt x="160" y="66"/>
                  </a:lnTo>
                  <a:lnTo>
                    <a:pt x="160" y="67"/>
                  </a:lnTo>
                  <a:lnTo>
                    <a:pt x="159" y="67"/>
                  </a:lnTo>
                  <a:lnTo>
                    <a:pt x="159" y="67"/>
                  </a:lnTo>
                  <a:lnTo>
                    <a:pt x="158" y="67"/>
                  </a:lnTo>
                  <a:lnTo>
                    <a:pt x="159" y="68"/>
                  </a:lnTo>
                  <a:lnTo>
                    <a:pt x="159" y="68"/>
                  </a:lnTo>
                  <a:lnTo>
                    <a:pt x="159" y="69"/>
                  </a:lnTo>
                  <a:lnTo>
                    <a:pt x="159" y="69"/>
                  </a:lnTo>
                  <a:lnTo>
                    <a:pt x="160" y="70"/>
                  </a:lnTo>
                  <a:lnTo>
                    <a:pt x="161" y="70"/>
                  </a:lnTo>
                  <a:lnTo>
                    <a:pt x="161" y="71"/>
                  </a:lnTo>
                  <a:lnTo>
                    <a:pt x="161" y="71"/>
                  </a:lnTo>
                  <a:lnTo>
                    <a:pt x="162" y="72"/>
                  </a:lnTo>
                  <a:lnTo>
                    <a:pt x="162" y="72"/>
                  </a:lnTo>
                  <a:lnTo>
                    <a:pt x="162" y="73"/>
                  </a:lnTo>
                  <a:lnTo>
                    <a:pt x="162" y="74"/>
                  </a:lnTo>
                  <a:lnTo>
                    <a:pt x="162" y="74"/>
                  </a:lnTo>
                  <a:lnTo>
                    <a:pt x="162" y="75"/>
                  </a:lnTo>
                  <a:lnTo>
                    <a:pt x="160" y="76"/>
                  </a:lnTo>
                  <a:lnTo>
                    <a:pt x="159" y="76"/>
                  </a:lnTo>
                  <a:lnTo>
                    <a:pt x="157" y="77"/>
                  </a:lnTo>
                  <a:lnTo>
                    <a:pt x="156" y="78"/>
                  </a:lnTo>
                  <a:lnTo>
                    <a:pt x="154" y="78"/>
                  </a:lnTo>
                  <a:lnTo>
                    <a:pt x="153" y="80"/>
                  </a:lnTo>
                  <a:lnTo>
                    <a:pt x="152" y="80"/>
                  </a:lnTo>
                  <a:lnTo>
                    <a:pt x="151" y="81"/>
                  </a:lnTo>
                  <a:lnTo>
                    <a:pt x="149" y="83"/>
                  </a:lnTo>
                  <a:lnTo>
                    <a:pt x="146" y="85"/>
                  </a:lnTo>
                  <a:lnTo>
                    <a:pt x="145" y="86"/>
                  </a:lnTo>
                  <a:lnTo>
                    <a:pt x="144" y="87"/>
                  </a:lnTo>
                  <a:lnTo>
                    <a:pt x="143" y="88"/>
                  </a:lnTo>
                  <a:lnTo>
                    <a:pt x="142" y="89"/>
                  </a:lnTo>
                  <a:lnTo>
                    <a:pt x="141" y="89"/>
                  </a:lnTo>
                  <a:lnTo>
                    <a:pt x="140" y="89"/>
                  </a:lnTo>
                  <a:lnTo>
                    <a:pt x="140" y="90"/>
                  </a:lnTo>
                  <a:lnTo>
                    <a:pt x="139" y="90"/>
                  </a:lnTo>
                  <a:lnTo>
                    <a:pt x="139" y="91"/>
                  </a:lnTo>
                  <a:lnTo>
                    <a:pt x="138" y="91"/>
                  </a:lnTo>
                  <a:lnTo>
                    <a:pt x="137" y="93"/>
                  </a:lnTo>
                  <a:lnTo>
                    <a:pt x="137" y="93"/>
                  </a:lnTo>
                  <a:lnTo>
                    <a:pt x="136" y="94"/>
                  </a:lnTo>
                  <a:lnTo>
                    <a:pt x="136" y="94"/>
                  </a:lnTo>
                  <a:lnTo>
                    <a:pt x="135" y="95"/>
                  </a:lnTo>
                  <a:lnTo>
                    <a:pt x="134" y="95"/>
                  </a:lnTo>
                  <a:lnTo>
                    <a:pt x="134" y="95"/>
                  </a:lnTo>
                  <a:lnTo>
                    <a:pt x="133" y="95"/>
                  </a:lnTo>
                  <a:lnTo>
                    <a:pt x="132" y="95"/>
                  </a:lnTo>
                  <a:lnTo>
                    <a:pt x="132" y="96"/>
                  </a:lnTo>
                  <a:lnTo>
                    <a:pt x="131" y="97"/>
                  </a:lnTo>
                  <a:lnTo>
                    <a:pt x="131" y="98"/>
                  </a:lnTo>
                  <a:lnTo>
                    <a:pt x="131" y="98"/>
                  </a:lnTo>
                  <a:lnTo>
                    <a:pt x="131" y="99"/>
                  </a:lnTo>
                  <a:lnTo>
                    <a:pt x="130" y="100"/>
                  </a:lnTo>
                  <a:lnTo>
                    <a:pt x="130" y="100"/>
                  </a:lnTo>
                  <a:lnTo>
                    <a:pt x="129" y="101"/>
                  </a:lnTo>
                  <a:lnTo>
                    <a:pt x="129" y="101"/>
                  </a:lnTo>
                  <a:lnTo>
                    <a:pt x="128" y="101"/>
                  </a:lnTo>
                  <a:lnTo>
                    <a:pt x="128" y="102"/>
                  </a:lnTo>
                  <a:lnTo>
                    <a:pt x="127" y="102"/>
                  </a:lnTo>
                  <a:lnTo>
                    <a:pt x="126" y="102"/>
                  </a:lnTo>
                  <a:lnTo>
                    <a:pt x="125" y="102"/>
                  </a:lnTo>
                  <a:lnTo>
                    <a:pt x="124" y="102"/>
                  </a:lnTo>
                  <a:lnTo>
                    <a:pt x="123" y="102"/>
                  </a:lnTo>
                  <a:lnTo>
                    <a:pt x="122" y="102"/>
                  </a:lnTo>
                  <a:lnTo>
                    <a:pt x="122" y="102"/>
                  </a:lnTo>
                  <a:lnTo>
                    <a:pt x="121" y="102"/>
                  </a:lnTo>
                  <a:lnTo>
                    <a:pt x="120" y="102"/>
                  </a:lnTo>
                  <a:lnTo>
                    <a:pt x="120" y="101"/>
                  </a:lnTo>
                  <a:lnTo>
                    <a:pt x="119" y="101"/>
                  </a:lnTo>
                  <a:lnTo>
                    <a:pt x="119" y="100"/>
                  </a:lnTo>
                  <a:lnTo>
                    <a:pt x="119" y="100"/>
                  </a:lnTo>
                  <a:lnTo>
                    <a:pt x="118" y="99"/>
                  </a:lnTo>
                  <a:lnTo>
                    <a:pt x="118" y="99"/>
                  </a:lnTo>
                  <a:lnTo>
                    <a:pt x="118" y="98"/>
                  </a:lnTo>
                  <a:lnTo>
                    <a:pt x="118" y="97"/>
                  </a:lnTo>
                  <a:lnTo>
                    <a:pt x="118" y="95"/>
                  </a:lnTo>
                  <a:lnTo>
                    <a:pt x="118" y="94"/>
                  </a:lnTo>
                  <a:lnTo>
                    <a:pt x="118" y="94"/>
                  </a:lnTo>
                  <a:lnTo>
                    <a:pt x="117" y="94"/>
                  </a:lnTo>
                  <a:lnTo>
                    <a:pt x="116" y="95"/>
                  </a:lnTo>
                  <a:lnTo>
                    <a:pt x="115" y="95"/>
                  </a:lnTo>
                  <a:lnTo>
                    <a:pt x="114" y="96"/>
                  </a:lnTo>
                  <a:lnTo>
                    <a:pt x="113" y="97"/>
                  </a:lnTo>
                  <a:lnTo>
                    <a:pt x="112" y="97"/>
                  </a:lnTo>
                  <a:lnTo>
                    <a:pt x="112" y="97"/>
                  </a:lnTo>
                  <a:lnTo>
                    <a:pt x="111" y="97"/>
                  </a:lnTo>
                  <a:lnTo>
                    <a:pt x="110" y="97"/>
                  </a:lnTo>
                  <a:lnTo>
                    <a:pt x="109" y="97"/>
                  </a:lnTo>
                  <a:lnTo>
                    <a:pt x="108" y="97"/>
                  </a:lnTo>
                  <a:lnTo>
                    <a:pt x="107" y="98"/>
                  </a:lnTo>
                  <a:lnTo>
                    <a:pt x="107" y="98"/>
                  </a:lnTo>
                  <a:lnTo>
                    <a:pt x="106" y="99"/>
                  </a:lnTo>
                  <a:lnTo>
                    <a:pt x="105" y="100"/>
                  </a:lnTo>
                  <a:lnTo>
                    <a:pt x="105" y="101"/>
                  </a:lnTo>
                  <a:lnTo>
                    <a:pt x="105" y="102"/>
                  </a:lnTo>
                  <a:lnTo>
                    <a:pt x="104" y="103"/>
                  </a:lnTo>
                  <a:lnTo>
                    <a:pt x="104" y="104"/>
                  </a:lnTo>
                  <a:lnTo>
                    <a:pt x="103" y="106"/>
                  </a:lnTo>
                  <a:lnTo>
                    <a:pt x="103" y="107"/>
                  </a:lnTo>
                  <a:lnTo>
                    <a:pt x="102" y="109"/>
                  </a:lnTo>
                  <a:lnTo>
                    <a:pt x="102" y="109"/>
                  </a:lnTo>
                  <a:lnTo>
                    <a:pt x="101" y="110"/>
                  </a:lnTo>
                  <a:lnTo>
                    <a:pt x="101" y="111"/>
                  </a:lnTo>
                  <a:lnTo>
                    <a:pt x="100" y="112"/>
                  </a:lnTo>
                  <a:lnTo>
                    <a:pt x="98" y="112"/>
                  </a:lnTo>
                  <a:lnTo>
                    <a:pt x="97" y="112"/>
                  </a:lnTo>
                  <a:lnTo>
                    <a:pt x="95" y="112"/>
                  </a:lnTo>
                  <a:lnTo>
                    <a:pt x="94" y="112"/>
                  </a:lnTo>
                  <a:lnTo>
                    <a:pt x="93" y="112"/>
                  </a:lnTo>
                  <a:lnTo>
                    <a:pt x="91" y="112"/>
                  </a:lnTo>
                  <a:lnTo>
                    <a:pt x="89" y="111"/>
                  </a:lnTo>
                  <a:lnTo>
                    <a:pt x="87" y="111"/>
                  </a:lnTo>
                  <a:lnTo>
                    <a:pt x="85" y="111"/>
                  </a:lnTo>
                  <a:lnTo>
                    <a:pt x="84" y="110"/>
                  </a:lnTo>
                  <a:lnTo>
                    <a:pt x="83" y="110"/>
                  </a:lnTo>
                  <a:lnTo>
                    <a:pt x="81" y="110"/>
                  </a:lnTo>
                  <a:lnTo>
                    <a:pt x="80" y="110"/>
                  </a:lnTo>
                  <a:lnTo>
                    <a:pt x="78" y="110"/>
                  </a:lnTo>
                  <a:lnTo>
                    <a:pt x="78" y="110"/>
                  </a:lnTo>
                  <a:lnTo>
                    <a:pt x="78" y="109"/>
                  </a:lnTo>
                  <a:lnTo>
                    <a:pt x="78" y="108"/>
                  </a:lnTo>
                  <a:lnTo>
                    <a:pt x="77" y="107"/>
                  </a:lnTo>
                  <a:lnTo>
                    <a:pt x="76" y="107"/>
                  </a:lnTo>
                  <a:lnTo>
                    <a:pt x="76" y="106"/>
                  </a:lnTo>
                  <a:lnTo>
                    <a:pt x="75" y="105"/>
                  </a:lnTo>
                  <a:lnTo>
                    <a:pt x="75" y="105"/>
                  </a:lnTo>
                  <a:lnTo>
                    <a:pt x="75" y="104"/>
                  </a:lnTo>
                  <a:lnTo>
                    <a:pt x="75" y="104"/>
                  </a:lnTo>
                  <a:lnTo>
                    <a:pt x="75" y="103"/>
                  </a:lnTo>
                  <a:lnTo>
                    <a:pt x="75" y="102"/>
                  </a:lnTo>
                  <a:lnTo>
                    <a:pt x="74" y="102"/>
                  </a:lnTo>
                  <a:lnTo>
                    <a:pt x="73" y="102"/>
                  </a:lnTo>
                  <a:lnTo>
                    <a:pt x="73" y="102"/>
                  </a:lnTo>
                  <a:lnTo>
                    <a:pt x="72" y="102"/>
                  </a:lnTo>
                  <a:lnTo>
                    <a:pt x="71" y="103"/>
                  </a:lnTo>
                  <a:lnTo>
                    <a:pt x="71" y="102"/>
                  </a:lnTo>
                  <a:lnTo>
                    <a:pt x="70" y="102"/>
                  </a:lnTo>
                  <a:lnTo>
                    <a:pt x="69" y="102"/>
                  </a:lnTo>
                  <a:lnTo>
                    <a:pt x="68" y="102"/>
                  </a:lnTo>
                  <a:lnTo>
                    <a:pt x="67" y="101"/>
                  </a:lnTo>
                  <a:lnTo>
                    <a:pt x="67" y="101"/>
                  </a:lnTo>
                  <a:lnTo>
                    <a:pt x="66" y="100"/>
                  </a:lnTo>
                  <a:lnTo>
                    <a:pt x="65" y="99"/>
                  </a:lnTo>
                  <a:lnTo>
                    <a:pt x="64" y="98"/>
                  </a:lnTo>
                  <a:lnTo>
                    <a:pt x="64" y="97"/>
                  </a:lnTo>
                  <a:lnTo>
                    <a:pt x="63" y="96"/>
                  </a:lnTo>
                  <a:lnTo>
                    <a:pt x="62" y="96"/>
                  </a:lnTo>
                  <a:lnTo>
                    <a:pt x="62" y="95"/>
                  </a:lnTo>
                  <a:lnTo>
                    <a:pt x="61" y="95"/>
                  </a:lnTo>
                  <a:lnTo>
                    <a:pt x="60" y="96"/>
                  </a:lnTo>
                  <a:lnTo>
                    <a:pt x="59" y="96"/>
                  </a:lnTo>
                  <a:lnTo>
                    <a:pt x="58" y="96"/>
                  </a:lnTo>
                  <a:lnTo>
                    <a:pt x="58" y="97"/>
                  </a:lnTo>
                  <a:lnTo>
                    <a:pt x="57" y="97"/>
                  </a:lnTo>
                  <a:lnTo>
                    <a:pt x="56" y="98"/>
                  </a:lnTo>
                  <a:lnTo>
                    <a:pt x="55" y="99"/>
                  </a:lnTo>
                  <a:lnTo>
                    <a:pt x="54" y="99"/>
                  </a:lnTo>
                  <a:lnTo>
                    <a:pt x="53" y="100"/>
                  </a:lnTo>
                  <a:lnTo>
                    <a:pt x="53" y="100"/>
                  </a:lnTo>
                  <a:lnTo>
                    <a:pt x="52" y="100"/>
                  </a:lnTo>
                  <a:lnTo>
                    <a:pt x="51" y="100"/>
                  </a:lnTo>
                  <a:lnTo>
                    <a:pt x="50" y="100"/>
                  </a:lnTo>
                  <a:lnTo>
                    <a:pt x="49" y="100"/>
                  </a:lnTo>
                  <a:lnTo>
                    <a:pt x="49" y="99"/>
                  </a:lnTo>
                  <a:lnTo>
                    <a:pt x="48" y="99"/>
                  </a:lnTo>
                  <a:lnTo>
                    <a:pt x="47" y="98"/>
                  </a:lnTo>
                  <a:lnTo>
                    <a:pt x="47" y="98"/>
                  </a:lnTo>
                  <a:lnTo>
                    <a:pt x="46" y="98"/>
                  </a:lnTo>
                  <a:lnTo>
                    <a:pt x="45" y="97"/>
                  </a:lnTo>
                  <a:lnTo>
                    <a:pt x="44" y="97"/>
                  </a:lnTo>
                  <a:lnTo>
                    <a:pt x="43" y="97"/>
                  </a:lnTo>
                  <a:lnTo>
                    <a:pt x="42" y="97"/>
                  </a:lnTo>
                  <a:lnTo>
                    <a:pt x="40" y="97"/>
                  </a:lnTo>
                  <a:lnTo>
                    <a:pt x="37" y="97"/>
                  </a:lnTo>
                  <a:lnTo>
                    <a:pt x="35" y="97"/>
                  </a:lnTo>
                  <a:lnTo>
                    <a:pt x="33" y="95"/>
                  </a:lnTo>
                  <a:lnTo>
                    <a:pt x="31" y="93"/>
                  </a:lnTo>
                  <a:lnTo>
                    <a:pt x="30" y="92"/>
                  </a:lnTo>
                  <a:lnTo>
                    <a:pt x="30" y="91"/>
                  </a:lnTo>
                  <a:lnTo>
                    <a:pt x="29" y="90"/>
                  </a:lnTo>
                  <a:lnTo>
                    <a:pt x="28" y="89"/>
                  </a:lnTo>
                  <a:lnTo>
                    <a:pt x="27" y="89"/>
                  </a:lnTo>
                  <a:lnTo>
                    <a:pt x="25" y="89"/>
                  </a:lnTo>
                  <a:lnTo>
                    <a:pt x="24" y="89"/>
                  </a:lnTo>
                  <a:lnTo>
                    <a:pt x="22" y="89"/>
                  </a:lnTo>
                  <a:lnTo>
                    <a:pt x="21" y="89"/>
                  </a:lnTo>
                  <a:lnTo>
                    <a:pt x="20" y="88"/>
                  </a:lnTo>
                  <a:lnTo>
                    <a:pt x="19" y="88"/>
                  </a:lnTo>
                  <a:lnTo>
                    <a:pt x="18" y="87"/>
                  </a:lnTo>
                  <a:lnTo>
                    <a:pt x="17" y="87"/>
                  </a:lnTo>
                  <a:lnTo>
                    <a:pt x="16" y="86"/>
                  </a:lnTo>
                  <a:lnTo>
                    <a:pt x="16" y="85"/>
                  </a:lnTo>
                  <a:lnTo>
                    <a:pt x="15" y="84"/>
                  </a:lnTo>
                  <a:lnTo>
                    <a:pt x="15" y="83"/>
                  </a:lnTo>
                  <a:lnTo>
                    <a:pt x="14" y="83"/>
                  </a:lnTo>
                  <a:lnTo>
                    <a:pt x="14" y="82"/>
                  </a:lnTo>
                  <a:lnTo>
                    <a:pt x="13" y="80"/>
                  </a:lnTo>
                  <a:lnTo>
                    <a:pt x="13" y="80"/>
                  </a:lnTo>
                  <a:lnTo>
                    <a:pt x="12" y="80"/>
                  </a:lnTo>
                  <a:lnTo>
                    <a:pt x="11" y="80"/>
                  </a:lnTo>
                  <a:lnTo>
                    <a:pt x="10" y="80"/>
                  </a:lnTo>
                  <a:lnTo>
                    <a:pt x="8" y="81"/>
                  </a:lnTo>
                  <a:lnTo>
                    <a:pt x="7" y="81"/>
                  </a:lnTo>
                  <a:lnTo>
                    <a:pt x="6" y="81"/>
                  </a:lnTo>
                  <a:lnTo>
                    <a:pt x="5" y="81"/>
                  </a:lnTo>
                  <a:lnTo>
                    <a:pt x="4" y="81"/>
                  </a:lnTo>
                  <a:lnTo>
                    <a:pt x="3" y="81"/>
                  </a:lnTo>
                  <a:lnTo>
                    <a:pt x="3" y="80"/>
                  </a:lnTo>
                  <a:lnTo>
                    <a:pt x="2" y="80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6"/>
                  </a:lnTo>
                  <a:lnTo>
                    <a:pt x="2" y="74"/>
                  </a:lnTo>
                  <a:lnTo>
                    <a:pt x="2" y="72"/>
                  </a:lnTo>
                  <a:lnTo>
                    <a:pt x="2" y="70"/>
                  </a:lnTo>
                  <a:lnTo>
                    <a:pt x="1" y="68"/>
                  </a:lnTo>
                  <a:lnTo>
                    <a:pt x="1" y="65"/>
                  </a:lnTo>
                  <a:lnTo>
                    <a:pt x="1" y="65"/>
                  </a:lnTo>
                  <a:lnTo>
                    <a:pt x="1" y="64"/>
                  </a:lnTo>
                  <a:lnTo>
                    <a:pt x="0" y="63"/>
                  </a:lnTo>
                  <a:lnTo>
                    <a:pt x="0" y="62"/>
                  </a:lnTo>
                  <a:lnTo>
                    <a:pt x="3" y="60"/>
                  </a:lnTo>
                  <a:lnTo>
                    <a:pt x="4" y="59"/>
                  </a:lnTo>
                  <a:lnTo>
                    <a:pt x="5" y="58"/>
                  </a:lnTo>
                  <a:lnTo>
                    <a:pt x="6" y="57"/>
                  </a:lnTo>
                  <a:lnTo>
                    <a:pt x="7" y="56"/>
                  </a:lnTo>
                  <a:lnTo>
                    <a:pt x="8" y="54"/>
                  </a:lnTo>
                  <a:lnTo>
                    <a:pt x="9" y="53"/>
                  </a:lnTo>
                  <a:lnTo>
                    <a:pt x="10" y="52"/>
                  </a:lnTo>
                  <a:lnTo>
                    <a:pt x="11" y="51"/>
                  </a:lnTo>
                  <a:lnTo>
                    <a:pt x="12" y="49"/>
                  </a:lnTo>
                  <a:lnTo>
                    <a:pt x="13" y="48"/>
                  </a:lnTo>
                  <a:lnTo>
                    <a:pt x="14" y="46"/>
                  </a:lnTo>
                  <a:lnTo>
                    <a:pt x="14" y="44"/>
                  </a:lnTo>
                  <a:lnTo>
                    <a:pt x="15" y="42"/>
                  </a:lnTo>
                  <a:lnTo>
                    <a:pt x="15" y="40"/>
                  </a:lnTo>
                  <a:lnTo>
                    <a:pt x="16" y="41"/>
                  </a:lnTo>
                  <a:lnTo>
                    <a:pt x="17" y="41"/>
                  </a:lnTo>
                  <a:lnTo>
                    <a:pt x="18" y="41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20" y="41"/>
                  </a:lnTo>
                  <a:lnTo>
                    <a:pt x="22" y="41"/>
                  </a:lnTo>
                  <a:lnTo>
                    <a:pt x="23" y="41"/>
                  </a:lnTo>
                  <a:lnTo>
                    <a:pt x="24" y="41"/>
                  </a:lnTo>
                  <a:lnTo>
                    <a:pt x="25" y="41"/>
                  </a:lnTo>
                  <a:lnTo>
                    <a:pt x="26" y="41"/>
                  </a:lnTo>
                  <a:lnTo>
                    <a:pt x="27" y="40"/>
                  </a:lnTo>
                  <a:lnTo>
                    <a:pt x="28" y="40"/>
                  </a:lnTo>
                  <a:lnTo>
                    <a:pt x="29" y="40"/>
                  </a:lnTo>
                  <a:lnTo>
                    <a:pt x="30" y="39"/>
                  </a:lnTo>
                  <a:lnTo>
                    <a:pt x="31" y="39"/>
                  </a:lnTo>
                  <a:lnTo>
                    <a:pt x="32" y="38"/>
                  </a:lnTo>
                  <a:lnTo>
                    <a:pt x="34" y="38"/>
                  </a:lnTo>
                  <a:lnTo>
                    <a:pt x="34" y="37"/>
                  </a:lnTo>
                  <a:lnTo>
                    <a:pt x="35" y="37"/>
                  </a:lnTo>
                  <a:lnTo>
                    <a:pt x="35" y="37"/>
                  </a:lnTo>
                  <a:lnTo>
                    <a:pt x="36" y="37"/>
                  </a:lnTo>
                  <a:lnTo>
                    <a:pt x="36" y="37"/>
                  </a:lnTo>
                  <a:lnTo>
                    <a:pt x="37" y="37"/>
                  </a:lnTo>
                  <a:lnTo>
                    <a:pt x="39" y="37"/>
                  </a:lnTo>
                  <a:lnTo>
                    <a:pt x="40" y="36"/>
                  </a:lnTo>
                  <a:lnTo>
                    <a:pt x="42" y="36"/>
                  </a:lnTo>
                  <a:lnTo>
                    <a:pt x="44" y="36"/>
                  </a:lnTo>
                  <a:lnTo>
                    <a:pt x="45" y="35"/>
                  </a:lnTo>
                  <a:lnTo>
                    <a:pt x="46" y="34"/>
                  </a:lnTo>
                  <a:lnTo>
                    <a:pt x="48" y="34"/>
                  </a:lnTo>
                  <a:lnTo>
                    <a:pt x="49" y="33"/>
                  </a:lnTo>
                  <a:lnTo>
                    <a:pt x="50" y="32"/>
                  </a:lnTo>
                  <a:lnTo>
                    <a:pt x="52" y="31"/>
                  </a:lnTo>
                  <a:lnTo>
                    <a:pt x="54" y="29"/>
                  </a:lnTo>
                  <a:lnTo>
                    <a:pt x="56" y="27"/>
                  </a:lnTo>
                  <a:lnTo>
                    <a:pt x="58" y="25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59" y="24"/>
                  </a:lnTo>
                  <a:lnTo>
                    <a:pt x="59" y="24"/>
                  </a:lnTo>
                  <a:lnTo>
                    <a:pt x="59" y="24"/>
                  </a:lnTo>
                  <a:lnTo>
                    <a:pt x="59" y="24"/>
                  </a:lnTo>
                  <a:lnTo>
                    <a:pt x="58" y="24"/>
                  </a:lnTo>
                  <a:lnTo>
                    <a:pt x="58" y="23"/>
                  </a:lnTo>
                  <a:lnTo>
                    <a:pt x="58" y="22"/>
                  </a:lnTo>
                  <a:lnTo>
                    <a:pt x="58" y="22"/>
                  </a:lnTo>
                  <a:lnTo>
                    <a:pt x="58" y="21"/>
                  </a:lnTo>
                  <a:lnTo>
                    <a:pt x="57" y="20"/>
                  </a:lnTo>
                  <a:lnTo>
                    <a:pt x="57" y="20"/>
                  </a:lnTo>
                  <a:lnTo>
                    <a:pt x="56" y="19"/>
                  </a:lnTo>
                  <a:lnTo>
                    <a:pt x="56" y="18"/>
                  </a:lnTo>
                  <a:lnTo>
                    <a:pt x="55" y="18"/>
                  </a:lnTo>
                  <a:lnTo>
                    <a:pt x="55" y="17"/>
                  </a:lnTo>
                  <a:lnTo>
                    <a:pt x="55" y="16"/>
                  </a:lnTo>
                  <a:lnTo>
                    <a:pt x="55" y="15"/>
                  </a:lnTo>
                  <a:lnTo>
                    <a:pt x="55" y="14"/>
                  </a:lnTo>
                  <a:lnTo>
                    <a:pt x="55" y="13"/>
                  </a:lnTo>
                  <a:lnTo>
                    <a:pt x="55" y="13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1"/>
                  </a:lnTo>
                  <a:lnTo>
                    <a:pt x="55" y="11"/>
                  </a:lnTo>
                  <a:lnTo>
                    <a:pt x="55" y="11"/>
                  </a:lnTo>
                  <a:lnTo>
                    <a:pt x="55" y="10"/>
                  </a:lnTo>
                  <a:lnTo>
                    <a:pt x="55" y="9"/>
                  </a:lnTo>
                  <a:lnTo>
                    <a:pt x="55" y="8"/>
                  </a:lnTo>
                  <a:lnTo>
                    <a:pt x="55" y="7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7" y="5"/>
                  </a:lnTo>
                  <a:lnTo>
                    <a:pt x="58" y="4"/>
                  </a:lnTo>
                  <a:lnTo>
                    <a:pt x="59" y="4"/>
                  </a:lnTo>
                  <a:lnTo>
                    <a:pt x="60" y="3"/>
                  </a:lnTo>
                  <a:lnTo>
                    <a:pt x="61" y="3"/>
                  </a:lnTo>
                  <a:lnTo>
                    <a:pt x="62" y="3"/>
                  </a:lnTo>
                  <a:lnTo>
                    <a:pt x="63" y="2"/>
                  </a:lnTo>
                  <a:lnTo>
                    <a:pt x="65" y="2"/>
                  </a:lnTo>
                  <a:lnTo>
                    <a:pt x="66" y="2"/>
                  </a:lnTo>
                  <a:lnTo>
                    <a:pt x="67" y="2"/>
                  </a:lnTo>
                  <a:lnTo>
                    <a:pt x="69" y="2"/>
                  </a:lnTo>
                  <a:lnTo>
                    <a:pt x="70" y="2"/>
                  </a:lnTo>
                  <a:lnTo>
                    <a:pt x="72" y="2"/>
                  </a:lnTo>
                  <a:lnTo>
                    <a:pt x="73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5" y="2"/>
                  </a:lnTo>
                  <a:lnTo>
                    <a:pt x="75" y="2"/>
                  </a:lnTo>
                  <a:lnTo>
                    <a:pt x="75" y="1"/>
                  </a:lnTo>
                  <a:lnTo>
                    <a:pt x="75" y="1"/>
                  </a:lnTo>
                  <a:lnTo>
                    <a:pt x="75" y="1"/>
                  </a:lnTo>
                </a:path>
              </a:pathLst>
            </a:custGeom>
            <a:grpFill/>
            <a:ln w="3175" cap="flat" cmpd="sng">
              <a:solidFill>
                <a:schemeClr val="accent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algn="ctr" defTabSz="781394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800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43" name="Freeform 5"/>
            <p:cNvSpPr>
              <a:spLocks/>
            </p:cNvSpPr>
            <p:nvPr/>
          </p:nvSpPr>
          <p:spPr bwMode="auto">
            <a:xfrm>
              <a:off x="27932" y="2473494"/>
              <a:ext cx="1255843" cy="778473"/>
            </a:xfrm>
            <a:custGeom>
              <a:avLst/>
              <a:gdLst/>
              <a:ahLst/>
              <a:cxnLst>
                <a:cxn ang="0">
                  <a:pos x="110" y="1"/>
                </a:cxn>
                <a:cxn ang="0">
                  <a:pos x="111" y="5"/>
                </a:cxn>
                <a:cxn ang="0">
                  <a:pos x="113" y="8"/>
                </a:cxn>
                <a:cxn ang="0">
                  <a:pos x="122" y="9"/>
                </a:cxn>
                <a:cxn ang="0">
                  <a:pos x="126" y="5"/>
                </a:cxn>
                <a:cxn ang="0">
                  <a:pos x="131" y="4"/>
                </a:cxn>
                <a:cxn ang="0">
                  <a:pos x="133" y="9"/>
                </a:cxn>
                <a:cxn ang="0">
                  <a:pos x="135" y="12"/>
                </a:cxn>
                <a:cxn ang="0">
                  <a:pos x="139" y="13"/>
                </a:cxn>
                <a:cxn ang="0">
                  <a:pos x="148" y="15"/>
                </a:cxn>
                <a:cxn ang="0">
                  <a:pos x="153" y="19"/>
                </a:cxn>
                <a:cxn ang="0">
                  <a:pos x="157" y="25"/>
                </a:cxn>
                <a:cxn ang="0">
                  <a:pos x="162" y="31"/>
                </a:cxn>
                <a:cxn ang="0">
                  <a:pos x="166" y="38"/>
                </a:cxn>
                <a:cxn ang="0">
                  <a:pos x="164" y="43"/>
                </a:cxn>
                <a:cxn ang="0">
                  <a:pos x="166" y="46"/>
                </a:cxn>
                <a:cxn ang="0">
                  <a:pos x="168" y="49"/>
                </a:cxn>
                <a:cxn ang="0">
                  <a:pos x="168" y="55"/>
                </a:cxn>
                <a:cxn ang="0">
                  <a:pos x="162" y="71"/>
                </a:cxn>
                <a:cxn ang="0">
                  <a:pos x="145" y="79"/>
                </a:cxn>
                <a:cxn ang="0">
                  <a:pos x="138" y="83"/>
                </a:cxn>
                <a:cxn ang="0">
                  <a:pos x="128" y="86"/>
                </a:cxn>
                <a:cxn ang="0">
                  <a:pos x="121" y="95"/>
                </a:cxn>
                <a:cxn ang="0">
                  <a:pos x="111" y="90"/>
                </a:cxn>
                <a:cxn ang="0">
                  <a:pos x="105" y="85"/>
                </a:cxn>
                <a:cxn ang="0">
                  <a:pos x="90" y="87"/>
                </a:cxn>
                <a:cxn ang="0">
                  <a:pos x="72" y="91"/>
                </a:cxn>
                <a:cxn ang="0">
                  <a:pos x="61" y="97"/>
                </a:cxn>
                <a:cxn ang="0">
                  <a:pos x="43" y="91"/>
                </a:cxn>
                <a:cxn ang="0">
                  <a:pos x="26" y="88"/>
                </a:cxn>
                <a:cxn ang="0">
                  <a:pos x="18" y="87"/>
                </a:cxn>
                <a:cxn ang="0">
                  <a:pos x="5" y="79"/>
                </a:cxn>
                <a:cxn ang="0">
                  <a:pos x="0" y="74"/>
                </a:cxn>
                <a:cxn ang="0">
                  <a:pos x="3" y="69"/>
                </a:cxn>
                <a:cxn ang="0">
                  <a:pos x="6" y="65"/>
                </a:cxn>
                <a:cxn ang="0">
                  <a:pos x="11" y="62"/>
                </a:cxn>
                <a:cxn ang="0">
                  <a:pos x="16" y="57"/>
                </a:cxn>
                <a:cxn ang="0">
                  <a:pos x="14" y="50"/>
                </a:cxn>
                <a:cxn ang="0">
                  <a:pos x="14" y="46"/>
                </a:cxn>
                <a:cxn ang="0">
                  <a:pos x="16" y="42"/>
                </a:cxn>
                <a:cxn ang="0">
                  <a:pos x="17" y="37"/>
                </a:cxn>
                <a:cxn ang="0">
                  <a:pos x="23" y="35"/>
                </a:cxn>
                <a:cxn ang="0">
                  <a:pos x="28" y="32"/>
                </a:cxn>
                <a:cxn ang="0">
                  <a:pos x="30" y="24"/>
                </a:cxn>
                <a:cxn ang="0">
                  <a:pos x="36" y="27"/>
                </a:cxn>
                <a:cxn ang="0">
                  <a:pos x="38" y="31"/>
                </a:cxn>
                <a:cxn ang="0">
                  <a:pos x="39" y="39"/>
                </a:cxn>
                <a:cxn ang="0">
                  <a:pos x="41" y="43"/>
                </a:cxn>
                <a:cxn ang="0">
                  <a:pos x="50" y="45"/>
                </a:cxn>
                <a:cxn ang="0">
                  <a:pos x="57" y="44"/>
                </a:cxn>
                <a:cxn ang="0">
                  <a:pos x="59" y="44"/>
                </a:cxn>
                <a:cxn ang="0">
                  <a:pos x="58" y="40"/>
                </a:cxn>
                <a:cxn ang="0">
                  <a:pos x="59" y="37"/>
                </a:cxn>
                <a:cxn ang="0">
                  <a:pos x="57" y="34"/>
                </a:cxn>
                <a:cxn ang="0">
                  <a:pos x="61" y="23"/>
                </a:cxn>
                <a:cxn ang="0">
                  <a:pos x="69" y="20"/>
                </a:cxn>
                <a:cxn ang="0">
                  <a:pos x="74" y="19"/>
                </a:cxn>
                <a:cxn ang="0">
                  <a:pos x="77" y="12"/>
                </a:cxn>
                <a:cxn ang="0">
                  <a:pos x="82" y="13"/>
                </a:cxn>
                <a:cxn ang="0">
                  <a:pos x="86" y="10"/>
                </a:cxn>
                <a:cxn ang="0">
                  <a:pos x="94" y="8"/>
                </a:cxn>
                <a:cxn ang="0">
                  <a:pos x="101" y="2"/>
                </a:cxn>
              </a:cxnLst>
              <a:rect l="0" t="0" r="r" b="b"/>
              <a:pathLst>
                <a:path w="168" h="97">
                  <a:moveTo>
                    <a:pt x="101" y="2"/>
                  </a:moveTo>
                  <a:lnTo>
                    <a:pt x="102" y="2"/>
                  </a:lnTo>
                  <a:lnTo>
                    <a:pt x="102" y="2"/>
                  </a:lnTo>
                  <a:lnTo>
                    <a:pt x="103" y="2"/>
                  </a:lnTo>
                  <a:lnTo>
                    <a:pt x="103" y="1"/>
                  </a:lnTo>
                  <a:lnTo>
                    <a:pt x="104" y="1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9" y="0"/>
                  </a:lnTo>
                  <a:lnTo>
                    <a:pt x="109" y="1"/>
                  </a:lnTo>
                  <a:lnTo>
                    <a:pt x="109" y="1"/>
                  </a:lnTo>
                  <a:lnTo>
                    <a:pt x="110" y="1"/>
                  </a:lnTo>
                  <a:lnTo>
                    <a:pt x="110" y="2"/>
                  </a:lnTo>
                  <a:lnTo>
                    <a:pt x="110" y="2"/>
                  </a:lnTo>
                  <a:lnTo>
                    <a:pt x="110" y="2"/>
                  </a:lnTo>
                  <a:lnTo>
                    <a:pt x="111" y="2"/>
                  </a:lnTo>
                  <a:lnTo>
                    <a:pt x="111" y="2"/>
                  </a:lnTo>
                  <a:lnTo>
                    <a:pt x="111" y="2"/>
                  </a:lnTo>
                  <a:lnTo>
                    <a:pt x="111" y="3"/>
                  </a:lnTo>
                  <a:lnTo>
                    <a:pt x="111" y="3"/>
                  </a:lnTo>
                  <a:lnTo>
                    <a:pt x="111" y="4"/>
                  </a:lnTo>
                  <a:lnTo>
                    <a:pt x="111" y="4"/>
                  </a:lnTo>
                  <a:lnTo>
                    <a:pt x="111" y="5"/>
                  </a:lnTo>
                  <a:lnTo>
                    <a:pt x="111" y="5"/>
                  </a:lnTo>
                  <a:lnTo>
                    <a:pt x="111" y="5"/>
                  </a:lnTo>
                  <a:lnTo>
                    <a:pt x="112" y="5"/>
                  </a:lnTo>
                  <a:lnTo>
                    <a:pt x="112" y="5"/>
                  </a:lnTo>
                  <a:lnTo>
                    <a:pt x="112" y="5"/>
                  </a:lnTo>
                  <a:lnTo>
                    <a:pt x="113" y="5"/>
                  </a:lnTo>
                  <a:lnTo>
                    <a:pt x="113" y="6"/>
                  </a:lnTo>
                  <a:lnTo>
                    <a:pt x="113" y="6"/>
                  </a:lnTo>
                  <a:lnTo>
                    <a:pt x="113" y="7"/>
                  </a:lnTo>
                  <a:lnTo>
                    <a:pt x="113" y="7"/>
                  </a:lnTo>
                  <a:lnTo>
                    <a:pt x="113" y="7"/>
                  </a:lnTo>
                  <a:lnTo>
                    <a:pt x="113" y="8"/>
                  </a:lnTo>
                  <a:lnTo>
                    <a:pt x="113" y="8"/>
                  </a:lnTo>
                  <a:lnTo>
                    <a:pt x="113" y="8"/>
                  </a:lnTo>
                  <a:lnTo>
                    <a:pt x="113" y="8"/>
                  </a:lnTo>
                  <a:lnTo>
                    <a:pt x="114" y="9"/>
                  </a:lnTo>
                  <a:lnTo>
                    <a:pt x="114" y="9"/>
                  </a:lnTo>
                  <a:lnTo>
                    <a:pt x="114" y="9"/>
                  </a:lnTo>
                  <a:lnTo>
                    <a:pt x="116" y="9"/>
                  </a:lnTo>
                  <a:lnTo>
                    <a:pt x="118" y="9"/>
                  </a:lnTo>
                  <a:lnTo>
                    <a:pt x="119" y="9"/>
                  </a:lnTo>
                  <a:lnTo>
                    <a:pt x="121" y="9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2" y="8"/>
                  </a:lnTo>
                  <a:lnTo>
                    <a:pt x="123" y="8"/>
                  </a:lnTo>
                  <a:lnTo>
                    <a:pt x="123" y="8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24" y="7"/>
                  </a:lnTo>
                  <a:lnTo>
                    <a:pt x="124" y="7"/>
                  </a:lnTo>
                  <a:lnTo>
                    <a:pt x="125" y="6"/>
                  </a:lnTo>
                  <a:lnTo>
                    <a:pt x="125" y="6"/>
                  </a:lnTo>
                  <a:lnTo>
                    <a:pt x="126" y="6"/>
                  </a:lnTo>
                  <a:lnTo>
                    <a:pt x="126" y="5"/>
                  </a:lnTo>
                  <a:lnTo>
                    <a:pt x="126" y="5"/>
                  </a:lnTo>
                  <a:lnTo>
                    <a:pt x="127" y="5"/>
                  </a:lnTo>
                  <a:lnTo>
                    <a:pt x="127" y="5"/>
                  </a:lnTo>
                  <a:lnTo>
                    <a:pt x="127" y="5"/>
                  </a:lnTo>
                  <a:lnTo>
                    <a:pt x="128" y="5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9" y="4"/>
                  </a:lnTo>
                  <a:lnTo>
                    <a:pt x="129" y="4"/>
                  </a:lnTo>
                  <a:lnTo>
                    <a:pt x="130" y="4"/>
                  </a:lnTo>
                  <a:lnTo>
                    <a:pt x="131" y="4"/>
                  </a:lnTo>
                  <a:lnTo>
                    <a:pt x="131" y="4"/>
                  </a:lnTo>
                  <a:lnTo>
                    <a:pt x="131" y="5"/>
                  </a:lnTo>
                  <a:lnTo>
                    <a:pt x="131" y="5"/>
                  </a:lnTo>
                  <a:lnTo>
                    <a:pt x="131" y="5"/>
                  </a:lnTo>
                  <a:lnTo>
                    <a:pt x="132" y="5"/>
                  </a:lnTo>
                  <a:lnTo>
                    <a:pt x="132" y="5"/>
                  </a:lnTo>
                  <a:lnTo>
                    <a:pt x="132" y="5"/>
                  </a:lnTo>
                  <a:lnTo>
                    <a:pt x="133" y="5"/>
                  </a:lnTo>
                  <a:lnTo>
                    <a:pt x="133" y="6"/>
                  </a:lnTo>
                  <a:lnTo>
                    <a:pt x="133" y="7"/>
                  </a:lnTo>
                  <a:lnTo>
                    <a:pt x="133" y="8"/>
                  </a:lnTo>
                  <a:lnTo>
                    <a:pt x="133" y="9"/>
                  </a:lnTo>
                  <a:lnTo>
                    <a:pt x="133" y="9"/>
                  </a:lnTo>
                  <a:lnTo>
                    <a:pt x="133" y="9"/>
                  </a:lnTo>
                  <a:lnTo>
                    <a:pt x="133" y="10"/>
                  </a:lnTo>
                  <a:lnTo>
                    <a:pt x="133" y="10"/>
                  </a:lnTo>
                  <a:lnTo>
                    <a:pt x="133" y="10"/>
                  </a:lnTo>
                  <a:lnTo>
                    <a:pt x="134" y="10"/>
                  </a:lnTo>
                  <a:lnTo>
                    <a:pt x="134" y="10"/>
                  </a:lnTo>
                  <a:lnTo>
                    <a:pt x="134" y="10"/>
                  </a:lnTo>
                  <a:lnTo>
                    <a:pt x="134" y="11"/>
                  </a:lnTo>
                  <a:lnTo>
                    <a:pt x="135" y="11"/>
                  </a:lnTo>
                  <a:lnTo>
                    <a:pt x="135" y="11"/>
                  </a:lnTo>
                  <a:lnTo>
                    <a:pt x="135" y="12"/>
                  </a:lnTo>
                  <a:lnTo>
                    <a:pt x="135" y="12"/>
                  </a:lnTo>
                  <a:lnTo>
                    <a:pt x="135" y="12"/>
                  </a:lnTo>
                  <a:lnTo>
                    <a:pt x="136" y="12"/>
                  </a:lnTo>
                  <a:lnTo>
                    <a:pt x="136" y="12"/>
                  </a:lnTo>
                  <a:lnTo>
                    <a:pt x="136" y="12"/>
                  </a:lnTo>
                  <a:lnTo>
                    <a:pt x="136" y="12"/>
                  </a:lnTo>
                  <a:lnTo>
                    <a:pt x="136" y="13"/>
                  </a:lnTo>
                  <a:lnTo>
                    <a:pt x="137" y="13"/>
                  </a:lnTo>
                  <a:lnTo>
                    <a:pt x="137" y="13"/>
                  </a:lnTo>
                  <a:lnTo>
                    <a:pt x="138" y="13"/>
                  </a:lnTo>
                  <a:lnTo>
                    <a:pt x="138" y="13"/>
                  </a:lnTo>
                  <a:lnTo>
                    <a:pt x="139" y="13"/>
                  </a:lnTo>
                  <a:lnTo>
                    <a:pt x="139" y="14"/>
                  </a:lnTo>
                  <a:lnTo>
                    <a:pt x="141" y="14"/>
                  </a:lnTo>
                  <a:lnTo>
                    <a:pt x="143" y="14"/>
                  </a:lnTo>
                  <a:lnTo>
                    <a:pt x="144" y="14"/>
                  </a:lnTo>
                  <a:lnTo>
                    <a:pt x="146" y="14"/>
                  </a:lnTo>
                  <a:lnTo>
                    <a:pt x="146" y="14"/>
                  </a:lnTo>
                  <a:lnTo>
                    <a:pt x="146" y="14"/>
                  </a:lnTo>
                  <a:lnTo>
                    <a:pt x="146" y="14"/>
                  </a:lnTo>
                  <a:lnTo>
                    <a:pt x="147" y="15"/>
                  </a:lnTo>
                  <a:lnTo>
                    <a:pt x="147" y="15"/>
                  </a:lnTo>
                  <a:lnTo>
                    <a:pt x="148" y="15"/>
                  </a:lnTo>
                  <a:lnTo>
                    <a:pt x="148" y="15"/>
                  </a:lnTo>
                  <a:lnTo>
                    <a:pt x="149" y="15"/>
                  </a:lnTo>
                  <a:lnTo>
                    <a:pt x="149" y="15"/>
                  </a:lnTo>
                  <a:lnTo>
                    <a:pt x="150" y="15"/>
                  </a:lnTo>
                  <a:lnTo>
                    <a:pt x="150" y="15"/>
                  </a:lnTo>
                  <a:lnTo>
                    <a:pt x="151" y="15"/>
                  </a:lnTo>
                  <a:lnTo>
                    <a:pt x="151" y="15"/>
                  </a:lnTo>
                  <a:lnTo>
                    <a:pt x="151" y="16"/>
                  </a:lnTo>
                  <a:lnTo>
                    <a:pt x="152" y="16"/>
                  </a:lnTo>
                  <a:lnTo>
                    <a:pt x="152" y="17"/>
                  </a:lnTo>
                  <a:lnTo>
                    <a:pt x="152" y="18"/>
                  </a:lnTo>
                  <a:lnTo>
                    <a:pt x="152" y="19"/>
                  </a:lnTo>
                  <a:lnTo>
                    <a:pt x="153" y="19"/>
                  </a:lnTo>
                  <a:lnTo>
                    <a:pt x="153" y="21"/>
                  </a:lnTo>
                  <a:lnTo>
                    <a:pt x="153" y="22"/>
                  </a:lnTo>
                  <a:lnTo>
                    <a:pt x="153" y="23"/>
                  </a:lnTo>
                  <a:lnTo>
                    <a:pt x="153" y="23"/>
                  </a:lnTo>
                  <a:lnTo>
                    <a:pt x="153" y="24"/>
                  </a:lnTo>
                  <a:lnTo>
                    <a:pt x="154" y="25"/>
                  </a:lnTo>
                  <a:lnTo>
                    <a:pt x="155" y="25"/>
                  </a:lnTo>
                  <a:lnTo>
                    <a:pt x="155" y="25"/>
                  </a:lnTo>
                  <a:lnTo>
                    <a:pt x="156" y="25"/>
                  </a:lnTo>
                  <a:lnTo>
                    <a:pt x="156" y="25"/>
                  </a:lnTo>
                  <a:lnTo>
                    <a:pt x="156" y="25"/>
                  </a:lnTo>
                  <a:lnTo>
                    <a:pt x="157" y="25"/>
                  </a:lnTo>
                  <a:lnTo>
                    <a:pt x="157" y="25"/>
                  </a:lnTo>
                  <a:lnTo>
                    <a:pt x="158" y="25"/>
                  </a:lnTo>
                  <a:lnTo>
                    <a:pt x="158" y="26"/>
                  </a:lnTo>
                  <a:lnTo>
                    <a:pt x="159" y="27"/>
                  </a:lnTo>
                  <a:lnTo>
                    <a:pt x="159" y="28"/>
                  </a:lnTo>
                  <a:lnTo>
                    <a:pt x="160" y="28"/>
                  </a:lnTo>
                  <a:lnTo>
                    <a:pt x="160" y="29"/>
                  </a:lnTo>
                  <a:lnTo>
                    <a:pt x="161" y="30"/>
                  </a:lnTo>
                  <a:lnTo>
                    <a:pt x="162" y="30"/>
                  </a:lnTo>
                  <a:lnTo>
                    <a:pt x="163" y="30"/>
                  </a:lnTo>
                  <a:lnTo>
                    <a:pt x="163" y="31"/>
                  </a:lnTo>
                  <a:lnTo>
                    <a:pt x="162" y="31"/>
                  </a:lnTo>
                  <a:lnTo>
                    <a:pt x="162" y="32"/>
                  </a:lnTo>
                  <a:lnTo>
                    <a:pt x="162" y="33"/>
                  </a:lnTo>
                  <a:lnTo>
                    <a:pt x="163" y="34"/>
                  </a:lnTo>
                  <a:lnTo>
                    <a:pt x="163" y="34"/>
                  </a:lnTo>
                  <a:lnTo>
                    <a:pt x="163" y="35"/>
                  </a:lnTo>
                  <a:lnTo>
                    <a:pt x="164" y="35"/>
                  </a:lnTo>
                  <a:lnTo>
                    <a:pt x="164" y="36"/>
                  </a:lnTo>
                  <a:lnTo>
                    <a:pt x="165" y="36"/>
                  </a:lnTo>
                  <a:lnTo>
                    <a:pt x="165" y="37"/>
                  </a:lnTo>
                  <a:lnTo>
                    <a:pt x="166" y="37"/>
                  </a:lnTo>
                  <a:lnTo>
                    <a:pt x="166" y="38"/>
                  </a:lnTo>
                  <a:lnTo>
                    <a:pt x="166" y="38"/>
                  </a:lnTo>
                  <a:lnTo>
                    <a:pt x="166" y="39"/>
                  </a:lnTo>
                  <a:lnTo>
                    <a:pt x="166" y="40"/>
                  </a:lnTo>
                  <a:lnTo>
                    <a:pt x="166" y="40"/>
                  </a:lnTo>
                  <a:lnTo>
                    <a:pt x="165" y="40"/>
                  </a:lnTo>
                  <a:lnTo>
                    <a:pt x="165" y="40"/>
                  </a:lnTo>
                  <a:lnTo>
                    <a:pt x="165" y="41"/>
                  </a:lnTo>
                  <a:lnTo>
                    <a:pt x="165" y="41"/>
                  </a:lnTo>
                  <a:lnTo>
                    <a:pt x="164" y="41"/>
                  </a:lnTo>
                  <a:lnTo>
                    <a:pt x="164" y="42"/>
                  </a:lnTo>
                  <a:lnTo>
                    <a:pt x="164" y="42"/>
                  </a:lnTo>
                  <a:lnTo>
                    <a:pt x="164" y="42"/>
                  </a:lnTo>
                  <a:lnTo>
                    <a:pt x="164" y="43"/>
                  </a:lnTo>
                  <a:lnTo>
                    <a:pt x="164" y="43"/>
                  </a:lnTo>
                  <a:lnTo>
                    <a:pt x="164" y="44"/>
                  </a:lnTo>
                  <a:lnTo>
                    <a:pt x="164" y="44"/>
                  </a:lnTo>
                  <a:lnTo>
                    <a:pt x="164" y="44"/>
                  </a:lnTo>
                  <a:lnTo>
                    <a:pt x="164" y="45"/>
                  </a:lnTo>
                  <a:lnTo>
                    <a:pt x="165" y="45"/>
                  </a:lnTo>
                  <a:lnTo>
                    <a:pt x="165" y="45"/>
                  </a:lnTo>
                  <a:lnTo>
                    <a:pt x="165" y="45"/>
                  </a:lnTo>
                  <a:lnTo>
                    <a:pt x="166" y="45"/>
                  </a:lnTo>
                  <a:lnTo>
                    <a:pt x="166" y="45"/>
                  </a:lnTo>
                  <a:lnTo>
                    <a:pt x="166" y="46"/>
                  </a:lnTo>
                  <a:lnTo>
                    <a:pt x="166" y="46"/>
                  </a:lnTo>
                  <a:lnTo>
                    <a:pt x="166" y="47"/>
                  </a:lnTo>
                  <a:lnTo>
                    <a:pt x="166" y="47"/>
                  </a:lnTo>
                  <a:lnTo>
                    <a:pt x="166" y="47"/>
                  </a:lnTo>
                  <a:lnTo>
                    <a:pt x="166" y="48"/>
                  </a:lnTo>
                  <a:lnTo>
                    <a:pt x="166" y="48"/>
                  </a:lnTo>
                  <a:lnTo>
                    <a:pt x="166" y="48"/>
                  </a:lnTo>
                  <a:lnTo>
                    <a:pt x="167" y="48"/>
                  </a:lnTo>
                  <a:lnTo>
                    <a:pt x="167" y="48"/>
                  </a:lnTo>
                  <a:lnTo>
                    <a:pt x="167" y="49"/>
                  </a:lnTo>
                  <a:lnTo>
                    <a:pt x="168" y="49"/>
                  </a:lnTo>
                  <a:lnTo>
                    <a:pt x="168" y="49"/>
                  </a:lnTo>
                  <a:lnTo>
                    <a:pt x="168" y="49"/>
                  </a:lnTo>
                  <a:lnTo>
                    <a:pt x="168" y="50"/>
                  </a:lnTo>
                  <a:lnTo>
                    <a:pt x="168" y="50"/>
                  </a:lnTo>
                  <a:lnTo>
                    <a:pt x="168" y="50"/>
                  </a:lnTo>
                  <a:lnTo>
                    <a:pt x="167" y="50"/>
                  </a:lnTo>
                  <a:lnTo>
                    <a:pt x="167" y="51"/>
                  </a:lnTo>
                  <a:lnTo>
                    <a:pt x="167" y="51"/>
                  </a:lnTo>
                  <a:lnTo>
                    <a:pt x="167" y="52"/>
                  </a:lnTo>
                  <a:lnTo>
                    <a:pt x="167" y="52"/>
                  </a:lnTo>
                  <a:lnTo>
                    <a:pt x="167" y="53"/>
                  </a:lnTo>
                  <a:lnTo>
                    <a:pt x="167" y="54"/>
                  </a:lnTo>
                  <a:lnTo>
                    <a:pt x="167" y="55"/>
                  </a:lnTo>
                  <a:lnTo>
                    <a:pt x="168" y="55"/>
                  </a:lnTo>
                  <a:lnTo>
                    <a:pt x="168" y="56"/>
                  </a:lnTo>
                  <a:lnTo>
                    <a:pt x="168" y="57"/>
                  </a:lnTo>
                  <a:lnTo>
                    <a:pt x="168" y="58"/>
                  </a:lnTo>
                  <a:lnTo>
                    <a:pt x="168" y="59"/>
                  </a:lnTo>
                  <a:lnTo>
                    <a:pt x="168" y="60"/>
                  </a:lnTo>
                  <a:lnTo>
                    <a:pt x="168" y="61"/>
                  </a:lnTo>
                  <a:lnTo>
                    <a:pt x="168" y="62"/>
                  </a:lnTo>
                  <a:lnTo>
                    <a:pt x="166" y="65"/>
                  </a:lnTo>
                  <a:lnTo>
                    <a:pt x="164" y="67"/>
                  </a:lnTo>
                  <a:lnTo>
                    <a:pt x="164" y="68"/>
                  </a:lnTo>
                  <a:lnTo>
                    <a:pt x="163" y="70"/>
                  </a:lnTo>
                  <a:lnTo>
                    <a:pt x="162" y="71"/>
                  </a:lnTo>
                  <a:lnTo>
                    <a:pt x="161" y="72"/>
                  </a:lnTo>
                  <a:lnTo>
                    <a:pt x="158" y="72"/>
                  </a:lnTo>
                  <a:lnTo>
                    <a:pt x="155" y="72"/>
                  </a:lnTo>
                  <a:lnTo>
                    <a:pt x="152" y="72"/>
                  </a:lnTo>
                  <a:lnTo>
                    <a:pt x="149" y="72"/>
                  </a:lnTo>
                  <a:lnTo>
                    <a:pt x="149" y="73"/>
                  </a:lnTo>
                  <a:lnTo>
                    <a:pt x="149" y="73"/>
                  </a:lnTo>
                  <a:lnTo>
                    <a:pt x="148" y="74"/>
                  </a:lnTo>
                  <a:lnTo>
                    <a:pt x="148" y="75"/>
                  </a:lnTo>
                  <a:lnTo>
                    <a:pt x="147" y="76"/>
                  </a:lnTo>
                  <a:lnTo>
                    <a:pt x="146" y="77"/>
                  </a:lnTo>
                  <a:lnTo>
                    <a:pt x="145" y="79"/>
                  </a:lnTo>
                  <a:lnTo>
                    <a:pt x="144" y="79"/>
                  </a:lnTo>
                  <a:lnTo>
                    <a:pt x="144" y="80"/>
                  </a:lnTo>
                  <a:lnTo>
                    <a:pt x="144" y="81"/>
                  </a:lnTo>
                  <a:lnTo>
                    <a:pt x="143" y="82"/>
                  </a:lnTo>
                  <a:lnTo>
                    <a:pt x="143" y="83"/>
                  </a:lnTo>
                  <a:lnTo>
                    <a:pt x="143" y="83"/>
                  </a:lnTo>
                  <a:lnTo>
                    <a:pt x="142" y="84"/>
                  </a:lnTo>
                  <a:lnTo>
                    <a:pt x="141" y="84"/>
                  </a:lnTo>
                  <a:lnTo>
                    <a:pt x="140" y="84"/>
                  </a:lnTo>
                  <a:lnTo>
                    <a:pt x="139" y="84"/>
                  </a:lnTo>
                  <a:lnTo>
                    <a:pt x="138" y="84"/>
                  </a:lnTo>
                  <a:lnTo>
                    <a:pt x="138" y="83"/>
                  </a:lnTo>
                  <a:lnTo>
                    <a:pt x="136" y="83"/>
                  </a:lnTo>
                  <a:lnTo>
                    <a:pt x="135" y="83"/>
                  </a:lnTo>
                  <a:lnTo>
                    <a:pt x="134" y="82"/>
                  </a:lnTo>
                  <a:lnTo>
                    <a:pt x="132" y="82"/>
                  </a:lnTo>
                  <a:lnTo>
                    <a:pt x="131" y="82"/>
                  </a:lnTo>
                  <a:lnTo>
                    <a:pt x="130" y="82"/>
                  </a:lnTo>
                  <a:lnTo>
                    <a:pt x="130" y="83"/>
                  </a:lnTo>
                  <a:lnTo>
                    <a:pt x="129" y="83"/>
                  </a:lnTo>
                  <a:lnTo>
                    <a:pt x="129" y="84"/>
                  </a:lnTo>
                  <a:lnTo>
                    <a:pt x="128" y="84"/>
                  </a:lnTo>
                  <a:lnTo>
                    <a:pt x="128" y="85"/>
                  </a:lnTo>
                  <a:lnTo>
                    <a:pt x="128" y="86"/>
                  </a:lnTo>
                  <a:lnTo>
                    <a:pt x="128" y="87"/>
                  </a:lnTo>
                  <a:lnTo>
                    <a:pt x="127" y="87"/>
                  </a:lnTo>
                  <a:lnTo>
                    <a:pt x="127" y="87"/>
                  </a:lnTo>
                  <a:lnTo>
                    <a:pt x="127" y="87"/>
                  </a:lnTo>
                  <a:lnTo>
                    <a:pt x="126" y="87"/>
                  </a:lnTo>
                  <a:lnTo>
                    <a:pt x="126" y="88"/>
                  </a:lnTo>
                  <a:lnTo>
                    <a:pt x="126" y="88"/>
                  </a:lnTo>
                  <a:lnTo>
                    <a:pt x="126" y="88"/>
                  </a:lnTo>
                  <a:lnTo>
                    <a:pt x="126" y="89"/>
                  </a:lnTo>
                  <a:lnTo>
                    <a:pt x="125" y="91"/>
                  </a:lnTo>
                  <a:lnTo>
                    <a:pt x="123" y="93"/>
                  </a:lnTo>
                  <a:lnTo>
                    <a:pt x="121" y="95"/>
                  </a:lnTo>
                  <a:lnTo>
                    <a:pt x="119" y="97"/>
                  </a:lnTo>
                  <a:lnTo>
                    <a:pt x="119" y="97"/>
                  </a:lnTo>
                  <a:lnTo>
                    <a:pt x="119" y="97"/>
                  </a:lnTo>
                  <a:lnTo>
                    <a:pt x="118" y="97"/>
                  </a:lnTo>
                  <a:lnTo>
                    <a:pt x="118" y="97"/>
                  </a:lnTo>
                  <a:lnTo>
                    <a:pt x="117" y="96"/>
                  </a:lnTo>
                  <a:lnTo>
                    <a:pt x="116" y="96"/>
                  </a:lnTo>
                  <a:lnTo>
                    <a:pt x="115" y="95"/>
                  </a:lnTo>
                  <a:lnTo>
                    <a:pt x="115" y="94"/>
                  </a:lnTo>
                  <a:lnTo>
                    <a:pt x="113" y="93"/>
                  </a:lnTo>
                  <a:lnTo>
                    <a:pt x="112" y="92"/>
                  </a:lnTo>
                  <a:lnTo>
                    <a:pt x="111" y="90"/>
                  </a:lnTo>
                  <a:lnTo>
                    <a:pt x="109" y="89"/>
                  </a:lnTo>
                  <a:lnTo>
                    <a:pt x="109" y="88"/>
                  </a:lnTo>
                  <a:lnTo>
                    <a:pt x="108" y="88"/>
                  </a:lnTo>
                  <a:lnTo>
                    <a:pt x="107" y="87"/>
                  </a:lnTo>
                  <a:lnTo>
                    <a:pt x="106" y="87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6" y="85"/>
                  </a:lnTo>
                  <a:lnTo>
                    <a:pt x="105" y="85"/>
                  </a:lnTo>
                  <a:lnTo>
                    <a:pt x="105" y="85"/>
                  </a:lnTo>
                  <a:lnTo>
                    <a:pt x="105" y="85"/>
                  </a:lnTo>
                  <a:lnTo>
                    <a:pt x="104" y="85"/>
                  </a:lnTo>
                  <a:lnTo>
                    <a:pt x="103" y="85"/>
                  </a:lnTo>
                  <a:lnTo>
                    <a:pt x="101" y="85"/>
                  </a:lnTo>
                  <a:lnTo>
                    <a:pt x="100" y="85"/>
                  </a:lnTo>
                  <a:lnTo>
                    <a:pt x="98" y="85"/>
                  </a:lnTo>
                  <a:lnTo>
                    <a:pt x="97" y="85"/>
                  </a:lnTo>
                  <a:lnTo>
                    <a:pt x="96" y="85"/>
                  </a:lnTo>
                  <a:lnTo>
                    <a:pt x="94" y="85"/>
                  </a:lnTo>
                  <a:lnTo>
                    <a:pt x="93" y="86"/>
                  </a:lnTo>
                  <a:lnTo>
                    <a:pt x="92" y="86"/>
                  </a:lnTo>
                  <a:lnTo>
                    <a:pt x="91" y="86"/>
                  </a:lnTo>
                  <a:lnTo>
                    <a:pt x="90" y="87"/>
                  </a:lnTo>
                  <a:lnTo>
                    <a:pt x="89" y="88"/>
                  </a:lnTo>
                  <a:lnTo>
                    <a:pt x="88" y="88"/>
                  </a:lnTo>
                  <a:lnTo>
                    <a:pt x="88" y="89"/>
                  </a:lnTo>
                  <a:lnTo>
                    <a:pt x="87" y="89"/>
                  </a:lnTo>
                  <a:lnTo>
                    <a:pt x="86" y="90"/>
                  </a:lnTo>
                  <a:lnTo>
                    <a:pt x="83" y="90"/>
                  </a:lnTo>
                  <a:lnTo>
                    <a:pt x="80" y="90"/>
                  </a:lnTo>
                  <a:lnTo>
                    <a:pt x="77" y="90"/>
                  </a:lnTo>
                  <a:lnTo>
                    <a:pt x="74" y="90"/>
                  </a:lnTo>
                  <a:lnTo>
                    <a:pt x="73" y="90"/>
                  </a:lnTo>
                  <a:lnTo>
                    <a:pt x="72" y="91"/>
                  </a:lnTo>
                  <a:lnTo>
                    <a:pt x="72" y="91"/>
                  </a:lnTo>
                  <a:lnTo>
                    <a:pt x="71" y="91"/>
                  </a:lnTo>
                  <a:lnTo>
                    <a:pt x="70" y="92"/>
                  </a:lnTo>
                  <a:lnTo>
                    <a:pt x="70" y="92"/>
                  </a:lnTo>
                  <a:lnTo>
                    <a:pt x="68" y="93"/>
                  </a:lnTo>
                  <a:lnTo>
                    <a:pt x="67" y="94"/>
                  </a:lnTo>
                  <a:lnTo>
                    <a:pt x="67" y="95"/>
                  </a:lnTo>
                  <a:lnTo>
                    <a:pt x="66" y="95"/>
                  </a:lnTo>
                  <a:lnTo>
                    <a:pt x="65" y="96"/>
                  </a:lnTo>
                  <a:lnTo>
                    <a:pt x="65" y="96"/>
                  </a:lnTo>
                  <a:lnTo>
                    <a:pt x="64" y="97"/>
                  </a:lnTo>
                  <a:lnTo>
                    <a:pt x="63" y="97"/>
                  </a:lnTo>
                  <a:lnTo>
                    <a:pt x="61" y="97"/>
                  </a:lnTo>
                  <a:lnTo>
                    <a:pt x="60" y="97"/>
                  </a:lnTo>
                  <a:lnTo>
                    <a:pt x="59" y="97"/>
                  </a:lnTo>
                  <a:lnTo>
                    <a:pt x="57" y="97"/>
                  </a:lnTo>
                  <a:lnTo>
                    <a:pt x="56" y="96"/>
                  </a:lnTo>
                  <a:lnTo>
                    <a:pt x="55" y="96"/>
                  </a:lnTo>
                  <a:lnTo>
                    <a:pt x="54" y="96"/>
                  </a:lnTo>
                  <a:lnTo>
                    <a:pt x="53" y="96"/>
                  </a:lnTo>
                  <a:lnTo>
                    <a:pt x="50" y="95"/>
                  </a:lnTo>
                  <a:lnTo>
                    <a:pt x="49" y="94"/>
                  </a:lnTo>
                  <a:lnTo>
                    <a:pt x="47" y="93"/>
                  </a:lnTo>
                  <a:lnTo>
                    <a:pt x="45" y="92"/>
                  </a:lnTo>
                  <a:lnTo>
                    <a:pt x="43" y="91"/>
                  </a:lnTo>
                  <a:lnTo>
                    <a:pt x="41" y="91"/>
                  </a:lnTo>
                  <a:lnTo>
                    <a:pt x="39" y="90"/>
                  </a:lnTo>
                  <a:lnTo>
                    <a:pt x="37" y="89"/>
                  </a:lnTo>
                  <a:lnTo>
                    <a:pt x="36" y="89"/>
                  </a:lnTo>
                  <a:lnTo>
                    <a:pt x="34" y="89"/>
                  </a:lnTo>
                  <a:lnTo>
                    <a:pt x="33" y="88"/>
                  </a:lnTo>
                  <a:lnTo>
                    <a:pt x="32" y="88"/>
                  </a:lnTo>
                  <a:lnTo>
                    <a:pt x="31" y="88"/>
                  </a:lnTo>
                  <a:lnTo>
                    <a:pt x="29" y="88"/>
                  </a:lnTo>
                  <a:lnTo>
                    <a:pt x="28" y="88"/>
                  </a:lnTo>
                  <a:lnTo>
                    <a:pt x="26" y="89"/>
                  </a:lnTo>
                  <a:lnTo>
                    <a:pt x="26" y="88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3" y="86"/>
                  </a:lnTo>
                  <a:lnTo>
                    <a:pt x="22" y="87"/>
                  </a:lnTo>
                  <a:lnTo>
                    <a:pt x="20" y="87"/>
                  </a:lnTo>
                  <a:lnTo>
                    <a:pt x="19" y="87"/>
                  </a:lnTo>
                  <a:lnTo>
                    <a:pt x="19" y="87"/>
                  </a:lnTo>
                  <a:lnTo>
                    <a:pt x="18" y="87"/>
                  </a:lnTo>
                  <a:lnTo>
                    <a:pt x="18" y="87"/>
                  </a:lnTo>
                  <a:lnTo>
                    <a:pt x="8" y="87"/>
                  </a:lnTo>
                  <a:lnTo>
                    <a:pt x="8" y="86"/>
                  </a:lnTo>
                  <a:lnTo>
                    <a:pt x="8" y="85"/>
                  </a:lnTo>
                  <a:lnTo>
                    <a:pt x="8" y="84"/>
                  </a:lnTo>
                  <a:lnTo>
                    <a:pt x="8" y="83"/>
                  </a:lnTo>
                  <a:lnTo>
                    <a:pt x="7" y="83"/>
                  </a:lnTo>
                  <a:lnTo>
                    <a:pt x="7" y="82"/>
                  </a:lnTo>
                  <a:lnTo>
                    <a:pt x="6" y="81"/>
                  </a:lnTo>
                  <a:lnTo>
                    <a:pt x="6" y="80"/>
                  </a:lnTo>
                  <a:lnTo>
                    <a:pt x="5" y="80"/>
                  </a:lnTo>
                  <a:lnTo>
                    <a:pt x="5" y="79"/>
                  </a:lnTo>
                  <a:lnTo>
                    <a:pt x="4" y="79"/>
                  </a:lnTo>
                  <a:lnTo>
                    <a:pt x="3" y="79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1" y="78"/>
                  </a:lnTo>
                  <a:lnTo>
                    <a:pt x="1" y="77"/>
                  </a:lnTo>
                  <a:lnTo>
                    <a:pt x="1" y="77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3"/>
                  </a:lnTo>
                  <a:lnTo>
                    <a:pt x="1" y="73"/>
                  </a:lnTo>
                  <a:lnTo>
                    <a:pt x="1" y="72"/>
                  </a:lnTo>
                  <a:lnTo>
                    <a:pt x="1" y="72"/>
                  </a:lnTo>
                  <a:lnTo>
                    <a:pt x="1" y="71"/>
                  </a:lnTo>
                  <a:lnTo>
                    <a:pt x="1" y="71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2" y="69"/>
                  </a:lnTo>
                  <a:lnTo>
                    <a:pt x="3" y="69"/>
                  </a:lnTo>
                  <a:lnTo>
                    <a:pt x="3" y="69"/>
                  </a:lnTo>
                  <a:lnTo>
                    <a:pt x="3" y="69"/>
                  </a:lnTo>
                  <a:lnTo>
                    <a:pt x="4" y="69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5" y="66"/>
                  </a:lnTo>
                  <a:lnTo>
                    <a:pt x="5" y="66"/>
                  </a:lnTo>
                  <a:lnTo>
                    <a:pt x="5" y="65"/>
                  </a:lnTo>
                  <a:lnTo>
                    <a:pt x="6" y="65"/>
                  </a:lnTo>
                  <a:lnTo>
                    <a:pt x="6" y="64"/>
                  </a:lnTo>
                  <a:lnTo>
                    <a:pt x="7" y="64"/>
                  </a:lnTo>
                  <a:lnTo>
                    <a:pt x="7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9" y="64"/>
                  </a:lnTo>
                  <a:lnTo>
                    <a:pt x="10" y="64"/>
                  </a:lnTo>
                  <a:lnTo>
                    <a:pt x="10" y="63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2" y="62"/>
                  </a:lnTo>
                  <a:lnTo>
                    <a:pt x="12" y="61"/>
                  </a:lnTo>
                  <a:lnTo>
                    <a:pt x="13" y="61"/>
                  </a:lnTo>
                  <a:lnTo>
                    <a:pt x="13" y="61"/>
                  </a:lnTo>
                  <a:lnTo>
                    <a:pt x="14" y="60"/>
                  </a:lnTo>
                  <a:lnTo>
                    <a:pt x="14" y="60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5" y="58"/>
                  </a:lnTo>
                  <a:lnTo>
                    <a:pt x="15" y="58"/>
                  </a:lnTo>
                  <a:lnTo>
                    <a:pt x="16" y="58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6"/>
                  </a:lnTo>
                  <a:lnTo>
                    <a:pt x="17" y="55"/>
                  </a:lnTo>
                  <a:lnTo>
                    <a:pt x="16" y="55"/>
                  </a:lnTo>
                  <a:lnTo>
                    <a:pt x="16" y="54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15" y="52"/>
                  </a:lnTo>
                  <a:lnTo>
                    <a:pt x="15" y="51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4" y="47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4"/>
                  </a:lnTo>
                  <a:lnTo>
                    <a:pt x="14" y="44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38"/>
                  </a:lnTo>
                  <a:lnTo>
                    <a:pt x="17" y="38"/>
                  </a:lnTo>
                  <a:lnTo>
                    <a:pt x="17" y="37"/>
                  </a:lnTo>
                  <a:lnTo>
                    <a:pt x="17" y="37"/>
                  </a:lnTo>
                  <a:lnTo>
                    <a:pt x="17" y="37"/>
                  </a:lnTo>
                  <a:lnTo>
                    <a:pt x="18" y="37"/>
                  </a:lnTo>
                  <a:lnTo>
                    <a:pt x="19" y="37"/>
                  </a:lnTo>
                  <a:lnTo>
                    <a:pt x="20" y="37"/>
                  </a:lnTo>
                  <a:lnTo>
                    <a:pt x="20" y="37"/>
                  </a:lnTo>
                  <a:lnTo>
                    <a:pt x="21" y="37"/>
                  </a:lnTo>
                  <a:lnTo>
                    <a:pt x="22" y="37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5"/>
                  </a:lnTo>
                  <a:lnTo>
                    <a:pt x="23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5" y="35"/>
                  </a:lnTo>
                  <a:lnTo>
                    <a:pt x="26" y="35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7" y="34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28" y="32"/>
                  </a:lnTo>
                  <a:lnTo>
                    <a:pt x="28" y="30"/>
                  </a:lnTo>
                  <a:lnTo>
                    <a:pt x="28" y="29"/>
                  </a:lnTo>
                  <a:lnTo>
                    <a:pt x="28" y="28"/>
                  </a:lnTo>
                  <a:lnTo>
                    <a:pt x="28" y="27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5"/>
                  </a:lnTo>
                  <a:lnTo>
                    <a:pt x="29" y="25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1" y="24"/>
                  </a:lnTo>
                  <a:lnTo>
                    <a:pt x="32" y="24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4" y="24"/>
                  </a:lnTo>
                  <a:lnTo>
                    <a:pt x="35" y="25"/>
                  </a:lnTo>
                  <a:lnTo>
                    <a:pt x="36" y="25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7" y="28"/>
                  </a:lnTo>
                  <a:lnTo>
                    <a:pt x="37" y="29"/>
                  </a:lnTo>
                  <a:lnTo>
                    <a:pt x="37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2"/>
                  </a:lnTo>
                  <a:lnTo>
                    <a:pt x="38" y="32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39" y="34"/>
                  </a:lnTo>
                  <a:lnTo>
                    <a:pt x="39" y="35"/>
                  </a:lnTo>
                  <a:lnTo>
                    <a:pt x="39" y="37"/>
                  </a:lnTo>
                  <a:lnTo>
                    <a:pt x="39" y="39"/>
                  </a:lnTo>
                  <a:lnTo>
                    <a:pt x="39" y="39"/>
                  </a:lnTo>
                  <a:lnTo>
                    <a:pt x="39" y="39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1" y="40"/>
                  </a:lnTo>
                  <a:lnTo>
                    <a:pt x="41" y="40"/>
                  </a:lnTo>
                  <a:lnTo>
                    <a:pt x="41" y="41"/>
                  </a:lnTo>
                  <a:lnTo>
                    <a:pt x="41" y="41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41" y="43"/>
                  </a:lnTo>
                  <a:lnTo>
                    <a:pt x="41" y="43"/>
                  </a:lnTo>
                  <a:lnTo>
                    <a:pt x="41" y="43"/>
                  </a:lnTo>
                  <a:lnTo>
                    <a:pt x="42" y="44"/>
                  </a:lnTo>
                  <a:lnTo>
                    <a:pt x="42" y="44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4" y="45"/>
                  </a:lnTo>
                  <a:lnTo>
                    <a:pt x="44" y="45"/>
                  </a:lnTo>
                  <a:lnTo>
                    <a:pt x="45" y="45"/>
                  </a:lnTo>
                  <a:lnTo>
                    <a:pt x="49" y="45"/>
                  </a:lnTo>
                  <a:lnTo>
                    <a:pt x="50" y="45"/>
                  </a:lnTo>
                  <a:lnTo>
                    <a:pt x="51" y="45"/>
                  </a:lnTo>
                  <a:lnTo>
                    <a:pt x="52" y="45"/>
                  </a:lnTo>
                  <a:lnTo>
                    <a:pt x="53" y="45"/>
                  </a:lnTo>
                  <a:lnTo>
                    <a:pt x="53" y="45"/>
                  </a:lnTo>
                  <a:lnTo>
                    <a:pt x="54" y="45"/>
                  </a:lnTo>
                  <a:lnTo>
                    <a:pt x="54" y="45"/>
                  </a:lnTo>
                  <a:lnTo>
                    <a:pt x="54" y="44"/>
                  </a:lnTo>
                  <a:lnTo>
                    <a:pt x="54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6" y="44"/>
                  </a:lnTo>
                  <a:lnTo>
                    <a:pt x="57" y="44"/>
                  </a:lnTo>
                  <a:lnTo>
                    <a:pt x="58" y="44"/>
                  </a:lnTo>
                  <a:lnTo>
                    <a:pt x="58" y="44"/>
                  </a:lnTo>
                  <a:lnTo>
                    <a:pt x="58" y="44"/>
                  </a:lnTo>
                  <a:lnTo>
                    <a:pt x="58" y="44"/>
                  </a:lnTo>
                  <a:lnTo>
                    <a:pt x="58" y="44"/>
                  </a:lnTo>
                  <a:lnTo>
                    <a:pt x="58" y="45"/>
                  </a:lnTo>
                  <a:lnTo>
                    <a:pt x="58" y="45"/>
                  </a:lnTo>
                  <a:lnTo>
                    <a:pt x="59" y="45"/>
                  </a:lnTo>
                  <a:lnTo>
                    <a:pt x="59" y="44"/>
                  </a:lnTo>
                  <a:lnTo>
                    <a:pt x="59" y="44"/>
                  </a:lnTo>
                  <a:lnTo>
                    <a:pt x="59" y="44"/>
                  </a:lnTo>
                  <a:lnTo>
                    <a:pt x="59" y="44"/>
                  </a:lnTo>
                  <a:lnTo>
                    <a:pt x="60" y="43"/>
                  </a:lnTo>
                  <a:lnTo>
                    <a:pt x="59" y="43"/>
                  </a:lnTo>
                  <a:lnTo>
                    <a:pt x="59" y="43"/>
                  </a:lnTo>
                  <a:lnTo>
                    <a:pt x="59" y="42"/>
                  </a:lnTo>
                  <a:lnTo>
                    <a:pt x="59" y="42"/>
                  </a:lnTo>
                  <a:lnTo>
                    <a:pt x="58" y="42"/>
                  </a:lnTo>
                  <a:lnTo>
                    <a:pt x="58" y="42"/>
                  </a:lnTo>
                  <a:lnTo>
                    <a:pt x="58" y="42"/>
                  </a:lnTo>
                  <a:lnTo>
                    <a:pt x="58" y="42"/>
                  </a:lnTo>
                  <a:lnTo>
                    <a:pt x="58" y="41"/>
                  </a:lnTo>
                  <a:lnTo>
                    <a:pt x="58" y="41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9" y="40"/>
                  </a:lnTo>
                  <a:lnTo>
                    <a:pt x="59" y="39"/>
                  </a:lnTo>
                  <a:lnTo>
                    <a:pt x="59" y="39"/>
                  </a:lnTo>
                  <a:lnTo>
                    <a:pt x="59" y="39"/>
                  </a:lnTo>
                  <a:lnTo>
                    <a:pt x="59" y="39"/>
                  </a:lnTo>
                  <a:lnTo>
                    <a:pt x="59" y="38"/>
                  </a:lnTo>
                  <a:lnTo>
                    <a:pt x="59" y="38"/>
                  </a:lnTo>
                  <a:lnTo>
                    <a:pt x="59" y="38"/>
                  </a:lnTo>
                  <a:lnTo>
                    <a:pt x="59" y="37"/>
                  </a:lnTo>
                  <a:lnTo>
                    <a:pt x="59" y="37"/>
                  </a:lnTo>
                  <a:lnTo>
                    <a:pt x="58" y="37"/>
                  </a:lnTo>
                  <a:lnTo>
                    <a:pt x="58" y="37"/>
                  </a:lnTo>
                  <a:lnTo>
                    <a:pt x="58" y="37"/>
                  </a:lnTo>
                  <a:lnTo>
                    <a:pt x="58" y="37"/>
                  </a:lnTo>
                  <a:lnTo>
                    <a:pt x="58" y="36"/>
                  </a:lnTo>
                  <a:lnTo>
                    <a:pt x="58" y="36"/>
                  </a:lnTo>
                  <a:lnTo>
                    <a:pt x="58" y="35"/>
                  </a:lnTo>
                  <a:lnTo>
                    <a:pt x="58" y="35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6" y="24"/>
                  </a:lnTo>
                  <a:lnTo>
                    <a:pt x="57" y="24"/>
                  </a:lnTo>
                  <a:lnTo>
                    <a:pt x="58" y="24"/>
                  </a:lnTo>
                  <a:lnTo>
                    <a:pt x="59" y="24"/>
                  </a:lnTo>
                  <a:lnTo>
                    <a:pt x="59" y="24"/>
                  </a:lnTo>
                  <a:lnTo>
                    <a:pt x="60" y="24"/>
                  </a:lnTo>
                  <a:lnTo>
                    <a:pt x="60" y="23"/>
                  </a:lnTo>
                  <a:lnTo>
                    <a:pt x="61" y="23"/>
                  </a:lnTo>
                  <a:lnTo>
                    <a:pt x="61" y="23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1"/>
                  </a:lnTo>
                  <a:lnTo>
                    <a:pt x="64" y="21"/>
                  </a:lnTo>
                  <a:lnTo>
                    <a:pt x="64" y="21"/>
                  </a:lnTo>
                  <a:lnTo>
                    <a:pt x="64" y="20"/>
                  </a:lnTo>
                  <a:lnTo>
                    <a:pt x="69" y="20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71" y="20"/>
                  </a:lnTo>
                  <a:lnTo>
                    <a:pt x="71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3" y="20"/>
                  </a:lnTo>
                  <a:lnTo>
                    <a:pt x="73" y="20"/>
                  </a:lnTo>
                  <a:lnTo>
                    <a:pt x="73" y="20"/>
                  </a:lnTo>
                  <a:lnTo>
                    <a:pt x="74" y="19"/>
                  </a:lnTo>
                  <a:lnTo>
                    <a:pt x="74" y="19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7"/>
                  </a:lnTo>
                  <a:lnTo>
                    <a:pt x="74" y="15"/>
                  </a:lnTo>
                  <a:lnTo>
                    <a:pt x="74" y="14"/>
                  </a:lnTo>
                  <a:lnTo>
                    <a:pt x="74" y="14"/>
                  </a:lnTo>
                  <a:lnTo>
                    <a:pt x="75" y="13"/>
                  </a:lnTo>
                  <a:lnTo>
                    <a:pt x="75" y="13"/>
                  </a:lnTo>
                  <a:lnTo>
                    <a:pt x="75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7" y="12"/>
                  </a:lnTo>
                  <a:lnTo>
                    <a:pt x="78" y="12"/>
                  </a:lnTo>
                  <a:lnTo>
                    <a:pt x="79" y="12"/>
                  </a:lnTo>
                  <a:lnTo>
                    <a:pt x="79" y="12"/>
                  </a:lnTo>
                  <a:lnTo>
                    <a:pt x="80" y="12"/>
                  </a:lnTo>
                  <a:lnTo>
                    <a:pt x="80" y="13"/>
                  </a:lnTo>
                  <a:lnTo>
                    <a:pt x="80" y="13"/>
                  </a:lnTo>
                  <a:lnTo>
                    <a:pt x="80" y="13"/>
                  </a:lnTo>
                  <a:lnTo>
                    <a:pt x="80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3" y="13"/>
                  </a:lnTo>
                  <a:lnTo>
                    <a:pt x="83" y="12"/>
                  </a:lnTo>
                  <a:lnTo>
                    <a:pt x="83" y="12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4" y="11"/>
                  </a:lnTo>
                  <a:lnTo>
                    <a:pt x="85" y="11"/>
                  </a:lnTo>
                  <a:lnTo>
                    <a:pt x="85" y="10"/>
                  </a:lnTo>
                  <a:lnTo>
                    <a:pt x="86" y="10"/>
                  </a:lnTo>
                  <a:lnTo>
                    <a:pt x="88" y="10"/>
                  </a:lnTo>
                  <a:lnTo>
                    <a:pt x="89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1" y="10"/>
                  </a:lnTo>
                  <a:lnTo>
                    <a:pt x="92" y="10"/>
                  </a:lnTo>
                  <a:lnTo>
                    <a:pt x="92" y="10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94" y="8"/>
                  </a:lnTo>
                  <a:lnTo>
                    <a:pt x="94" y="8"/>
                  </a:lnTo>
                  <a:lnTo>
                    <a:pt x="95" y="7"/>
                  </a:lnTo>
                  <a:lnTo>
                    <a:pt x="96" y="7"/>
                  </a:lnTo>
                  <a:lnTo>
                    <a:pt x="96" y="6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8" y="4"/>
                  </a:lnTo>
                  <a:lnTo>
                    <a:pt x="98" y="4"/>
                  </a:lnTo>
                  <a:lnTo>
                    <a:pt x="99" y="3"/>
                  </a:lnTo>
                  <a:lnTo>
                    <a:pt x="99" y="3"/>
                  </a:lnTo>
                  <a:lnTo>
                    <a:pt x="100" y="3"/>
                  </a:lnTo>
                  <a:lnTo>
                    <a:pt x="100" y="2"/>
                  </a:lnTo>
                  <a:lnTo>
                    <a:pt x="101" y="2"/>
                  </a:lnTo>
                  <a:lnTo>
                    <a:pt x="101" y="2"/>
                  </a:lnTo>
                </a:path>
              </a:pathLst>
            </a:custGeom>
            <a:grpFill/>
            <a:ln w="3175" cap="flat" cmpd="sng">
              <a:solidFill>
                <a:schemeClr val="accent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algn="ctr" defTabSz="781394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800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44" name="Freeform 6"/>
            <p:cNvSpPr>
              <a:spLocks/>
            </p:cNvSpPr>
            <p:nvPr/>
          </p:nvSpPr>
          <p:spPr bwMode="auto">
            <a:xfrm>
              <a:off x="4633128" y="2534620"/>
              <a:ext cx="1496952" cy="1381222"/>
            </a:xfrm>
            <a:custGeom>
              <a:avLst/>
              <a:gdLst/>
              <a:ahLst/>
              <a:cxnLst>
                <a:cxn ang="0">
                  <a:pos x="25" y="46"/>
                </a:cxn>
                <a:cxn ang="0">
                  <a:pos x="15" y="28"/>
                </a:cxn>
                <a:cxn ang="0">
                  <a:pos x="19" y="11"/>
                </a:cxn>
                <a:cxn ang="0">
                  <a:pos x="33" y="2"/>
                </a:cxn>
                <a:cxn ang="0">
                  <a:pos x="37" y="9"/>
                </a:cxn>
                <a:cxn ang="0">
                  <a:pos x="42" y="15"/>
                </a:cxn>
                <a:cxn ang="0">
                  <a:pos x="46" y="22"/>
                </a:cxn>
                <a:cxn ang="0">
                  <a:pos x="51" y="28"/>
                </a:cxn>
                <a:cxn ang="0">
                  <a:pos x="61" y="20"/>
                </a:cxn>
                <a:cxn ang="0">
                  <a:pos x="61" y="13"/>
                </a:cxn>
                <a:cxn ang="0">
                  <a:pos x="65" y="11"/>
                </a:cxn>
                <a:cxn ang="0">
                  <a:pos x="70" y="13"/>
                </a:cxn>
                <a:cxn ang="0">
                  <a:pos x="72" y="18"/>
                </a:cxn>
                <a:cxn ang="0">
                  <a:pos x="77" y="21"/>
                </a:cxn>
                <a:cxn ang="0">
                  <a:pos x="83" y="24"/>
                </a:cxn>
                <a:cxn ang="0">
                  <a:pos x="92" y="21"/>
                </a:cxn>
                <a:cxn ang="0">
                  <a:pos x="104" y="16"/>
                </a:cxn>
                <a:cxn ang="0">
                  <a:pos x="111" y="14"/>
                </a:cxn>
                <a:cxn ang="0">
                  <a:pos x="114" y="11"/>
                </a:cxn>
                <a:cxn ang="0">
                  <a:pos x="124" y="12"/>
                </a:cxn>
                <a:cxn ang="0">
                  <a:pos x="131" y="18"/>
                </a:cxn>
                <a:cxn ang="0">
                  <a:pos x="134" y="23"/>
                </a:cxn>
                <a:cxn ang="0">
                  <a:pos x="137" y="28"/>
                </a:cxn>
                <a:cxn ang="0">
                  <a:pos x="146" y="30"/>
                </a:cxn>
                <a:cxn ang="0">
                  <a:pos x="152" y="33"/>
                </a:cxn>
                <a:cxn ang="0">
                  <a:pos x="155" y="38"/>
                </a:cxn>
                <a:cxn ang="0">
                  <a:pos x="160" y="41"/>
                </a:cxn>
                <a:cxn ang="0">
                  <a:pos x="176" y="43"/>
                </a:cxn>
                <a:cxn ang="0">
                  <a:pos x="183" y="41"/>
                </a:cxn>
                <a:cxn ang="0">
                  <a:pos x="189" y="34"/>
                </a:cxn>
                <a:cxn ang="0">
                  <a:pos x="192" y="39"/>
                </a:cxn>
                <a:cxn ang="0">
                  <a:pos x="200" y="46"/>
                </a:cxn>
                <a:cxn ang="0">
                  <a:pos x="194" y="53"/>
                </a:cxn>
                <a:cxn ang="0">
                  <a:pos x="193" y="68"/>
                </a:cxn>
                <a:cxn ang="0">
                  <a:pos x="180" y="99"/>
                </a:cxn>
                <a:cxn ang="0">
                  <a:pos x="183" y="103"/>
                </a:cxn>
                <a:cxn ang="0">
                  <a:pos x="186" y="107"/>
                </a:cxn>
                <a:cxn ang="0">
                  <a:pos x="179" y="119"/>
                </a:cxn>
                <a:cxn ang="0">
                  <a:pos x="175" y="123"/>
                </a:cxn>
                <a:cxn ang="0">
                  <a:pos x="169" y="124"/>
                </a:cxn>
                <a:cxn ang="0">
                  <a:pos x="162" y="122"/>
                </a:cxn>
                <a:cxn ang="0">
                  <a:pos x="157" y="125"/>
                </a:cxn>
                <a:cxn ang="0">
                  <a:pos x="144" y="125"/>
                </a:cxn>
                <a:cxn ang="0">
                  <a:pos x="132" y="124"/>
                </a:cxn>
                <a:cxn ang="0">
                  <a:pos x="131" y="138"/>
                </a:cxn>
                <a:cxn ang="0">
                  <a:pos x="129" y="159"/>
                </a:cxn>
                <a:cxn ang="0">
                  <a:pos x="124" y="169"/>
                </a:cxn>
                <a:cxn ang="0">
                  <a:pos x="110" y="150"/>
                </a:cxn>
                <a:cxn ang="0">
                  <a:pos x="93" y="146"/>
                </a:cxn>
                <a:cxn ang="0">
                  <a:pos x="70" y="140"/>
                </a:cxn>
                <a:cxn ang="0">
                  <a:pos x="64" y="143"/>
                </a:cxn>
                <a:cxn ang="0">
                  <a:pos x="39" y="138"/>
                </a:cxn>
                <a:cxn ang="0">
                  <a:pos x="20" y="143"/>
                </a:cxn>
                <a:cxn ang="0">
                  <a:pos x="9" y="147"/>
                </a:cxn>
                <a:cxn ang="0">
                  <a:pos x="12" y="125"/>
                </a:cxn>
                <a:cxn ang="0">
                  <a:pos x="8" y="114"/>
                </a:cxn>
                <a:cxn ang="0">
                  <a:pos x="9" y="103"/>
                </a:cxn>
                <a:cxn ang="0">
                  <a:pos x="9" y="97"/>
                </a:cxn>
                <a:cxn ang="0">
                  <a:pos x="6" y="80"/>
                </a:cxn>
                <a:cxn ang="0">
                  <a:pos x="0" y="67"/>
                </a:cxn>
                <a:cxn ang="0">
                  <a:pos x="5" y="59"/>
                </a:cxn>
              </a:cxnLst>
              <a:rect l="0" t="0" r="r" b="b"/>
              <a:pathLst>
                <a:path w="200" h="172">
                  <a:moveTo>
                    <a:pt x="11" y="52"/>
                  </a:moveTo>
                  <a:lnTo>
                    <a:pt x="12" y="52"/>
                  </a:lnTo>
                  <a:lnTo>
                    <a:pt x="14" y="52"/>
                  </a:lnTo>
                  <a:lnTo>
                    <a:pt x="15" y="52"/>
                  </a:lnTo>
                  <a:lnTo>
                    <a:pt x="16" y="52"/>
                  </a:lnTo>
                  <a:lnTo>
                    <a:pt x="18" y="52"/>
                  </a:lnTo>
                  <a:lnTo>
                    <a:pt x="19" y="51"/>
                  </a:lnTo>
                  <a:lnTo>
                    <a:pt x="20" y="51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2" y="49"/>
                  </a:lnTo>
                  <a:lnTo>
                    <a:pt x="23" y="48"/>
                  </a:lnTo>
                  <a:lnTo>
                    <a:pt x="24" y="48"/>
                  </a:lnTo>
                  <a:lnTo>
                    <a:pt x="24" y="47"/>
                  </a:lnTo>
                  <a:lnTo>
                    <a:pt x="25" y="46"/>
                  </a:lnTo>
                  <a:lnTo>
                    <a:pt x="25" y="45"/>
                  </a:lnTo>
                  <a:lnTo>
                    <a:pt x="26" y="44"/>
                  </a:lnTo>
                  <a:lnTo>
                    <a:pt x="26" y="43"/>
                  </a:lnTo>
                  <a:lnTo>
                    <a:pt x="25" y="42"/>
                  </a:lnTo>
                  <a:lnTo>
                    <a:pt x="25" y="40"/>
                  </a:lnTo>
                  <a:lnTo>
                    <a:pt x="25" y="39"/>
                  </a:lnTo>
                  <a:lnTo>
                    <a:pt x="24" y="38"/>
                  </a:lnTo>
                  <a:lnTo>
                    <a:pt x="23" y="37"/>
                  </a:lnTo>
                  <a:lnTo>
                    <a:pt x="23" y="35"/>
                  </a:lnTo>
                  <a:lnTo>
                    <a:pt x="22" y="34"/>
                  </a:lnTo>
                  <a:lnTo>
                    <a:pt x="21" y="33"/>
                  </a:lnTo>
                  <a:lnTo>
                    <a:pt x="19" y="31"/>
                  </a:lnTo>
                  <a:lnTo>
                    <a:pt x="17" y="30"/>
                  </a:lnTo>
                  <a:lnTo>
                    <a:pt x="16" y="29"/>
                  </a:lnTo>
                  <a:lnTo>
                    <a:pt x="15" y="28"/>
                  </a:lnTo>
                  <a:lnTo>
                    <a:pt x="15" y="27"/>
                  </a:lnTo>
                  <a:lnTo>
                    <a:pt x="14" y="25"/>
                  </a:lnTo>
                  <a:lnTo>
                    <a:pt x="14" y="24"/>
                  </a:lnTo>
                  <a:lnTo>
                    <a:pt x="14" y="23"/>
                  </a:lnTo>
                  <a:lnTo>
                    <a:pt x="14" y="22"/>
                  </a:lnTo>
                  <a:lnTo>
                    <a:pt x="14" y="21"/>
                  </a:lnTo>
                  <a:lnTo>
                    <a:pt x="14" y="19"/>
                  </a:lnTo>
                  <a:lnTo>
                    <a:pt x="14" y="18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5" y="16"/>
                  </a:lnTo>
                  <a:lnTo>
                    <a:pt x="16" y="15"/>
                  </a:lnTo>
                  <a:lnTo>
                    <a:pt x="17" y="13"/>
                  </a:lnTo>
                  <a:lnTo>
                    <a:pt x="18" y="12"/>
                  </a:lnTo>
                  <a:lnTo>
                    <a:pt x="19" y="11"/>
                  </a:lnTo>
                  <a:lnTo>
                    <a:pt x="20" y="9"/>
                  </a:lnTo>
                  <a:lnTo>
                    <a:pt x="21" y="8"/>
                  </a:lnTo>
                  <a:lnTo>
                    <a:pt x="22" y="7"/>
                  </a:lnTo>
                  <a:lnTo>
                    <a:pt x="24" y="5"/>
                  </a:lnTo>
                  <a:lnTo>
                    <a:pt x="25" y="4"/>
                  </a:lnTo>
                  <a:lnTo>
                    <a:pt x="26" y="3"/>
                  </a:lnTo>
                  <a:lnTo>
                    <a:pt x="28" y="2"/>
                  </a:lnTo>
                  <a:lnTo>
                    <a:pt x="29" y="1"/>
                  </a:lnTo>
                  <a:lnTo>
                    <a:pt x="30" y="0"/>
                  </a:lnTo>
                  <a:lnTo>
                    <a:pt x="31" y="0"/>
                  </a:lnTo>
                  <a:lnTo>
                    <a:pt x="31" y="1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3" y="3"/>
                  </a:lnTo>
                  <a:lnTo>
                    <a:pt x="34" y="4"/>
                  </a:lnTo>
                  <a:lnTo>
                    <a:pt x="34" y="5"/>
                  </a:lnTo>
                  <a:lnTo>
                    <a:pt x="35" y="6"/>
                  </a:lnTo>
                  <a:lnTo>
                    <a:pt x="35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8" y="11"/>
                  </a:lnTo>
                  <a:lnTo>
                    <a:pt x="39" y="11"/>
                  </a:lnTo>
                  <a:lnTo>
                    <a:pt x="39" y="12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1" y="14"/>
                  </a:lnTo>
                  <a:lnTo>
                    <a:pt x="40" y="14"/>
                  </a:lnTo>
                  <a:lnTo>
                    <a:pt x="40" y="15"/>
                  </a:lnTo>
                  <a:lnTo>
                    <a:pt x="41" y="15"/>
                  </a:lnTo>
                  <a:lnTo>
                    <a:pt x="41" y="15"/>
                  </a:lnTo>
                  <a:lnTo>
                    <a:pt x="41" y="15"/>
                  </a:lnTo>
                  <a:lnTo>
                    <a:pt x="41" y="15"/>
                  </a:lnTo>
                  <a:lnTo>
                    <a:pt x="42" y="15"/>
                  </a:lnTo>
                  <a:lnTo>
                    <a:pt x="42" y="15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3" y="17"/>
                  </a:lnTo>
                  <a:lnTo>
                    <a:pt x="43" y="18"/>
                  </a:lnTo>
                  <a:lnTo>
                    <a:pt x="44" y="18"/>
                  </a:lnTo>
                  <a:lnTo>
                    <a:pt x="44" y="19"/>
                  </a:lnTo>
                  <a:lnTo>
                    <a:pt x="45" y="19"/>
                  </a:lnTo>
                  <a:lnTo>
                    <a:pt x="45" y="20"/>
                  </a:lnTo>
                  <a:lnTo>
                    <a:pt x="46" y="20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6" y="21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7" y="23"/>
                  </a:lnTo>
                  <a:lnTo>
                    <a:pt x="48" y="23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9" y="25"/>
                  </a:lnTo>
                  <a:lnTo>
                    <a:pt x="49" y="25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51" y="27"/>
                  </a:lnTo>
                  <a:lnTo>
                    <a:pt x="50" y="28"/>
                  </a:lnTo>
                  <a:lnTo>
                    <a:pt x="50" y="28"/>
                  </a:lnTo>
                  <a:lnTo>
                    <a:pt x="51" y="28"/>
                  </a:lnTo>
                  <a:lnTo>
                    <a:pt x="51" y="28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2" y="29"/>
                  </a:lnTo>
                  <a:lnTo>
                    <a:pt x="52" y="29"/>
                  </a:lnTo>
                  <a:lnTo>
                    <a:pt x="53" y="28"/>
                  </a:lnTo>
                  <a:lnTo>
                    <a:pt x="55" y="27"/>
                  </a:lnTo>
                  <a:lnTo>
                    <a:pt x="56" y="26"/>
                  </a:lnTo>
                  <a:lnTo>
                    <a:pt x="57" y="25"/>
                  </a:lnTo>
                  <a:lnTo>
                    <a:pt x="58" y="24"/>
                  </a:lnTo>
                  <a:lnTo>
                    <a:pt x="59" y="23"/>
                  </a:lnTo>
                  <a:lnTo>
                    <a:pt x="60" y="22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62" y="20"/>
                  </a:lnTo>
                  <a:lnTo>
                    <a:pt x="62" y="19"/>
                  </a:lnTo>
                  <a:lnTo>
                    <a:pt x="61" y="19"/>
                  </a:lnTo>
                  <a:lnTo>
                    <a:pt x="61" y="19"/>
                  </a:lnTo>
                  <a:lnTo>
                    <a:pt x="61" y="19"/>
                  </a:lnTo>
                  <a:lnTo>
                    <a:pt x="61" y="19"/>
                  </a:lnTo>
                  <a:lnTo>
                    <a:pt x="61" y="18"/>
                  </a:lnTo>
                  <a:lnTo>
                    <a:pt x="61" y="17"/>
                  </a:lnTo>
                  <a:lnTo>
                    <a:pt x="60" y="16"/>
                  </a:lnTo>
                  <a:lnTo>
                    <a:pt x="60" y="15"/>
                  </a:lnTo>
                  <a:lnTo>
                    <a:pt x="61" y="14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1" y="12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3" y="12"/>
                  </a:lnTo>
                  <a:lnTo>
                    <a:pt x="63" y="12"/>
                  </a:lnTo>
                  <a:lnTo>
                    <a:pt x="63" y="12"/>
                  </a:lnTo>
                  <a:lnTo>
                    <a:pt x="64" y="12"/>
                  </a:lnTo>
                  <a:lnTo>
                    <a:pt x="64" y="11"/>
                  </a:lnTo>
                  <a:lnTo>
                    <a:pt x="64" y="11"/>
                  </a:lnTo>
                  <a:lnTo>
                    <a:pt x="64" y="11"/>
                  </a:lnTo>
                  <a:lnTo>
                    <a:pt x="64" y="11"/>
                  </a:lnTo>
                  <a:lnTo>
                    <a:pt x="64" y="11"/>
                  </a:lnTo>
                  <a:lnTo>
                    <a:pt x="65" y="11"/>
                  </a:lnTo>
                  <a:lnTo>
                    <a:pt x="65" y="11"/>
                  </a:lnTo>
                  <a:lnTo>
                    <a:pt x="66" y="11"/>
                  </a:lnTo>
                  <a:lnTo>
                    <a:pt x="65" y="11"/>
                  </a:lnTo>
                  <a:lnTo>
                    <a:pt x="65" y="11"/>
                  </a:lnTo>
                  <a:lnTo>
                    <a:pt x="66" y="12"/>
                  </a:lnTo>
                  <a:lnTo>
                    <a:pt x="66" y="12"/>
                  </a:lnTo>
                  <a:lnTo>
                    <a:pt x="66" y="12"/>
                  </a:lnTo>
                  <a:lnTo>
                    <a:pt x="66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8" y="12"/>
                  </a:lnTo>
                  <a:lnTo>
                    <a:pt x="69" y="12"/>
                  </a:lnTo>
                  <a:lnTo>
                    <a:pt x="69" y="12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1" y="14"/>
                  </a:lnTo>
                  <a:lnTo>
                    <a:pt x="71" y="14"/>
                  </a:lnTo>
                  <a:lnTo>
                    <a:pt x="71" y="14"/>
                  </a:lnTo>
                  <a:lnTo>
                    <a:pt x="71" y="15"/>
                  </a:lnTo>
                  <a:lnTo>
                    <a:pt x="71" y="15"/>
                  </a:lnTo>
                  <a:lnTo>
                    <a:pt x="71" y="16"/>
                  </a:lnTo>
                  <a:lnTo>
                    <a:pt x="71" y="16"/>
                  </a:lnTo>
                  <a:lnTo>
                    <a:pt x="71" y="16"/>
                  </a:lnTo>
                  <a:lnTo>
                    <a:pt x="71" y="17"/>
                  </a:lnTo>
                  <a:lnTo>
                    <a:pt x="71" y="17"/>
                  </a:lnTo>
                  <a:lnTo>
                    <a:pt x="71" y="17"/>
                  </a:lnTo>
                  <a:lnTo>
                    <a:pt x="72" y="17"/>
                  </a:lnTo>
                  <a:lnTo>
                    <a:pt x="72" y="17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3" y="18"/>
                  </a:lnTo>
                  <a:lnTo>
                    <a:pt x="73" y="18"/>
                  </a:lnTo>
                  <a:lnTo>
                    <a:pt x="73" y="19"/>
                  </a:lnTo>
                  <a:lnTo>
                    <a:pt x="74" y="19"/>
                  </a:lnTo>
                  <a:lnTo>
                    <a:pt x="75" y="19"/>
                  </a:lnTo>
                  <a:lnTo>
                    <a:pt x="75" y="19"/>
                  </a:lnTo>
                  <a:lnTo>
                    <a:pt x="76" y="19"/>
                  </a:lnTo>
                  <a:lnTo>
                    <a:pt x="76" y="19"/>
                  </a:lnTo>
                  <a:lnTo>
                    <a:pt x="77" y="19"/>
                  </a:lnTo>
                  <a:lnTo>
                    <a:pt x="77" y="20"/>
                  </a:lnTo>
                  <a:lnTo>
                    <a:pt x="77" y="20"/>
                  </a:lnTo>
                  <a:lnTo>
                    <a:pt x="77" y="20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7" y="22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3"/>
                  </a:lnTo>
                  <a:lnTo>
                    <a:pt x="79" y="23"/>
                  </a:lnTo>
                  <a:lnTo>
                    <a:pt x="79" y="23"/>
                  </a:lnTo>
                  <a:lnTo>
                    <a:pt x="80" y="24"/>
                  </a:lnTo>
                  <a:lnTo>
                    <a:pt x="81" y="24"/>
                  </a:lnTo>
                  <a:lnTo>
                    <a:pt x="82" y="24"/>
                  </a:lnTo>
                  <a:lnTo>
                    <a:pt x="83" y="24"/>
                  </a:lnTo>
                  <a:lnTo>
                    <a:pt x="83" y="24"/>
                  </a:lnTo>
                  <a:lnTo>
                    <a:pt x="84" y="24"/>
                  </a:lnTo>
                  <a:lnTo>
                    <a:pt x="85" y="24"/>
                  </a:lnTo>
                  <a:lnTo>
                    <a:pt x="86" y="24"/>
                  </a:lnTo>
                  <a:lnTo>
                    <a:pt x="87" y="24"/>
                  </a:lnTo>
                  <a:lnTo>
                    <a:pt x="88" y="23"/>
                  </a:lnTo>
                  <a:lnTo>
                    <a:pt x="89" y="23"/>
                  </a:lnTo>
                  <a:lnTo>
                    <a:pt x="90" y="23"/>
                  </a:lnTo>
                  <a:lnTo>
                    <a:pt x="90" y="22"/>
                  </a:lnTo>
                  <a:lnTo>
                    <a:pt x="90" y="22"/>
                  </a:lnTo>
                  <a:lnTo>
                    <a:pt x="90" y="22"/>
                  </a:lnTo>
                  <a:lnTo>
                    <a:pt x="91" y="22"/>
                  </a:lnTo>
                  <a:lnTo>
                    <a:pt x="91" y="22"/>
                  </a:lnTo>
                  <a:lnTo>
                    <a:pt x="92" y="22"/>
                  </a:lnTo>
                  <a:lnTo>
                    <a:pt x="92" y="22"/>
                  </a:lnTo>
                  <a:lnTo>
                    <a:pt x="92" y="21"/>
                  </a:lnTo>
                  <a:lnTo>
                    <a:pt x="92" y="21"/>
                  </a:lnTo>
                  <a:lnTo>
                    <a:pt x="92" y="21"/>
                  </a:lnTo>
                  <a:lnTo>
                    <a:pt x="92" y="20"/>
                  </a:lnTo>
                  <a:lnTo>
                    <a:pt x="94" y="21"/>
                  </a:lnTo>
                  <a:lnTo>
                    <a:pt x="95" y="21"/>
                  </a:lnTo>
                  <a:lnTo>
                    <a:pt x="96" y="21"/>
                  </a:lnTo>
                  <a:lnTo>
                    <a:pt x="97" y="21"/>
                  </a:lnTo>
                  <a:lnTo>
                    <a:pt x="98" y="20"/>
                  </a:lnTo>
                  <a:lnTo>
                    <a:pt x="99" y="20"/>
                  </a:lnTo>
                  <a:lnTo>
                    <a:pt x="100" y="20"/>
                  </a:lnTo>
                  <a:lnTo>
                    <a:pt x="100" y="19"/>
                  </a:lnTo>
                  <a:lnTo>
                    <a:pt x="101" y="19"/>
                  </a:lnTo>
                  <a:lnTo>
                    <a:pt x="102" y="18"/>
                  </a:lnTo>
                  <a:lnTo>
                    <a:pt x="103" y="17"/>
                  </a:lnTo>
                  <a:lnTo>
                    <a:pt x="104" y="16"/>
                  </a:lnTo>
                  <a:lnTo>
                    <a:pt x="105" y="16"/>
                  </a:lnTo>
                  <a:lnTo>
                    <a:pt x="106" y="15"/>
                  </a:lnTo>
                  <a:lnTo>
                    <a:pt x="106" y="16"/>
                  </a:lnTo>
                  <a:lnTo>
                    <a:pt x="107" y="16"/>
                  </a:lnTo>
                  <a:lnTo>
                    <a:pt x="107" y="15"/>
                  </a:lnTo>
                  <a:lnTo>
                    <a:pt x="108" y="15"/>
                  </a:lnTo>
                  <a:lnTo>
                    <a:pt x="108" y="15"/>
                  </a:lnTo>
                  <a:lnTo>
                    <a:pt x="108" y="15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10" y="14"/>
                  </a:lnTo>
                  <a:lnTo>
                    <a:pt x="110" y="14"/>
                  </a:lnTo>
                  <a:lnTo>
                    <a:pt x="111" y="14"/>
                  </a:lnTo>
                  <a:lnTo>
                    <a:pt x="111" y="14"/>
                  </a:lnTo>
                  <a:lnTo>
                    <a:pt x="111" y="14"/>
                  </a:lnTo>
                  <a:lnTo>
                    <a:pt x="112" y="14"/>
                  </a:lnTo>
                  <a:lnTo>
                    <a:pt x="112" y="13"/>
                  </a:lnTo>
                  <a:lnTo>
                    <a:pt x="112" y="13"/>
                  </a:lnTo>
                  <a:lnTo>
                    <a:pt x="112" y="13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3" y="11"/>
                  </a:lnTo>
                  <a:lnTo>
                    <a:pt x="113" y="10"/>
                  </a:lnTo>
                  <a:lnTo>
                    <a:pt x="113" y="10"/>
                  </a:lnTo>
                  <a:lnTo>
                    <a:pt x="114" y="11"/>
                  </a:lnTo>
                  <a:lnTo>
                    <a:pt x="116" y="11"/>
                  </a:lnTo>
                  <a:lnTo>
                    <a:pt x="119" y="11"/>
                  </a:lnTo>
                  <a:lnTo>
                    <a:pt x="119" y="11"/>
                  </a:lnTo>
                  <a:lnTo>
                    <a:pt x="120" y="11"/>
                  </a:lnTo>
                  <a:lnTo>
                    <a:pt x="120" y="11"/>
                  </a:lnTo>
                  <a:lnTo>
                    <a:pt x="121" y="11"/>
                  </a:lnTo>
                  <a:lnTo>
                    <a:pt x="122" y="11"/>
                  </a:lnTo>
                  <a:lnTo>
                    <a:pt x="122" y="11"/>
                  </a:lnTo>
                  <a:lnTo>
                    <a:pt x="122" y="11"/>
                  </a:lnTo>
                  <a:lnTo>
                    <a:pt x="122" y="12"/>
                  </a:lnTo>
                  <a:lnTo>
                    <a:pt x="122" y="12"/>
                  </a:lnTo>
                  <a:lnTo>
                    <a:pt x="123" y="12"/>
                  </a:lnTo>
                  <a:lnTo>
                    <a:pt x="123" y="12"/>
                  </a:lnTo>
                  <a:lnTo>
                    <a:pt x="123" y="12"/>
                  </a:lnTo>
                  <a:lnTo>
                    <a:pt x="124" y="12"/>
                  </a:lnTo>
                  <a:lnTo>
                    <a:pt x="125" y="12"/>
                  </a:lnTo>
                  <a:lnTo>
                    <a:pt x="125" y="12"/>
                  </a:lnTo>
                  <a:lnTo>
                    <a:pt x="126" y="12"/>
                  </a:lnTo>
                  <a:lnTo>
                    <a:pt x="126" y="12"/>
                  </a:lnTo>
                  <a:lnTo>
                    <a:pt x="127" y="13"/>
                  </a:lnTo>
                  <a:lnTo>
                    <a:pt x="127" y="13"/>
                  </a:lnTo>
                  <a:lnTo>
                    <a:pt x="128" y="13"/>
                  </a:lnTo>
                  <a:lnTo>
                    <a:pt x="128" y="14"/>
                  </a:lnTo>
                  <a:lnTo>
                    <a:pt x="129" y="14"/>
                  </a:lnTo>
                  <a:lnTo>
                    <a:pt x="129" y="15"/>
                  </a:lnTo>
                  <a:lnTo>
                    <a:pt x="130" y="16"/>
                  </a:lnTo>
                  <a:lnTo>
                    <a:pt x="131" y="17"/>
                  </a:lnTo>
                  <a:lnTo>
                    <a:pt x="130" y="18"/>
                  </a:lnTo>
                  <a:lnTo>
                    <a:pt x="130" y="18"/>
                  </a:lnTo>
                  <a:lnTo>
                    <a:pt x="131" y="18"/>
                  </a:lnTo>
                  <a:lnTo>
                    <a:pt x="131" y="18"/>
                  </a:lnTo>
                  <a:lnTo>
                    <a:pt x="131" y="19"/>
                  </a:lnTo>
                  <a:lnTo>
                    <a:pt x="131" y="19"/>
                  </a:lnTo>
                  <a:lnTo>
                    <a:pt x="132" y="19"/>
                  </a:lnTo>
                  <a:lnTo>
                    <a:pt x="132" y="19"/>
                  </a:lnTo>
                  <a:lnTo>
                    <a:pt x="132" y="19"/>
                  </a:lnTo>
                  <a:lnTo>
                    <a:pt x="132" y="20"/>
                  </a:lnTo>
                  <a:lnTo>
                    <a:pt x="133" y="20"/>
                  </a:lnTo>
                  <a:lnTo>
                    <a:pt x="133" y="20"/>
                  </a:lnTo>
                  <a:lnTo>
                    <a:pt x="133" y="21"/>
                  </a:lnTo>
                  <a:lnTo>
                    <a:pt x="134" y="22"/>
                  </a:lnTo>
                  <a:lnTo>
                    <a:pt x="134" y="22"/>
                  </a:lnTo>
                  <a:lnTo>
                    <a:pt x="134" y="23"/>
                  </a:lnTo>
                  <a:lnTo>
                    <a:pt x="134" y="23"/>
                  </a:lnTo>
                  <a:lnTo>
                    <a:pt x="134" y="23"/>
                  </a:lnTo>
                  <a:lnTo>
                    <a:pt x="134" y="23"/>
                  </a:lnTo>
                  <a:lnTo>
                    <a:pt x="134" y="24"/>
                  </a:lnTo>
                  <a:lnTo>
                    <a:pt x="135" y="24"/>
                  </a:lnTo>
                  <a:lnTo>
                    <a:pt x="135" y="24"/>
                  </a:lnTo>
                  <a:lnTo>
                    <a:pt x="136" y="24"/>
                  </a:lnTo>
                  <a:lnTo>
                    <a:pt x="136" y="24"/>
                  </a:lnTo>
                  <a:lnTo>
                    <a:pt x="136" y="25"/>
                  </a:lnTo>
                  <a:lnTo>
                    <a:pt x="136" y="25"/>
                  </a:lnTo>
                  <a:lnTo>
                    <a:pt x="136" y="26"/>
                  </a:lnTo>
                  <a:lnTo>
                    <a:pt x="137" y="26"/>
                  </a:lnTo>
                  <a:lnTo>
                    <a:pt x="137" y="27"/>
                  </a:lnTo>
                  <a:lnTo>
                    <a:pt x="137" y="27"/>
                  </a:lnTo>
                  <a:lnTo>
                    <a:pt x="137" y="28"/>
                  </a:lnTo>
                  <a:lnTo>
                    <a:pt x="137" y="28"/>
                  </a:lnTo>
                  <a:lnTo>
                    <a:pt x="137" y="28"/>
                  </a:lnTo>
                  <a:lnTo>
                    <a:pt x="137" y="28"/>
                  </a:lnTo>
                  <a:lnTo>
                    <a:pt x="138" y="29"/>
                  </a:lnTo>
                  <a:lnTo>
                    <a:pt x="138" y="29"/>
                  </a:lnTo>
                  <a:lnTo>
                    <a:pt x="138" y="29"/>
                  </a:lnTo>
                  <a:lnTo>
                    <a:pt x="139" y="29"/>
                  </a:lnTo>
                  <a:lnTo>
                    <a:pt x="140" y="29"/>
                  </a:lnTo>
                  <a:lnTo>
                    <a:pt x="142" y="29"/>
                  </a:lnTo>
                  <a:lnTo>
                    <a:pt x="144" y="29"/>
                  </a:lnTo>
                  <a:lnTo>
                    <a:pt x="145" y="29"/>
                  </a:lnTo>
                  <a:lnTo>
                    <a:pt x="145" y="29"/>
                  </a:lnTo>
                  <a:lnTo>
                    <a:pt x="145" y="29"/>
                  </a:lnTo>
                  <a:lnTo>
                    <a:pt x="145" y="30"/>
                  </a:lnTo>
                  <a:lnTo>
                    <a:pt x="146" y="30"/>
                  </a:lnTo>
                  <a:lnTo>
                    <a:pt x="146" y="30"/>
                  </a:lnTo>
                  <a:lnTo>
                    <a:pt x="146" y="30"/>
                  </a:lnTo>
                  <a:lnTo>
                    <a:pt x="147" y="30"/>
                  </a:lnTo>
                  <a:lnTo>
                    <a:pt x="147" y="30"/>
                  </a:lnTo>
                  <a:lnTo>
                    <a:pt x="148" y="30"/>
                  </a:lnTo>
                  <a:lnTo>
                    <a:pt x="149" y="30"/>
                  </a:lnTo>
                  <a:lnTo>
                    <a:pt x="150" y="30"/>
                  </a:lnTo>
                  <a:lnTo>
                    <a:pt x="151" y="30"/>
                  </a:lnTo>
                  <a:lnTo>
                    <a:pt x="150" y="31"/>
                  </a:lnTo>
                  <a:lnTo>
                    <a:pt x="150" y="31"/>
                  </a:lnTo>
                  <a:lnTo>
                    <a:pt x="151" y="31"/>
                  </a:lnTo>
                  <a:lnTo>
                    <a:pt x="151" y="32"/>
                  </a:lnTo>
                  <a:lnTo>
                    <a:pt x="151" y="32"/>
                  </a:lnTo>
                  <a:lnTo>
                    <a:pt x="151" y="32"/>
                  </a:lnTo>
                  <a:lnTo>
                    <a:pt x="152" y="32"/>
                  </a:lnTo>
                  <a:lnTo>
                    <a:pt x="152" y="32"/>
                  </a:lnTo>
                  <a:lnTo>
                    <a:pt x="152" y="33"/>
                  </a:lnTo>
                  <a:lnTo>
                    <a:pt x="152" y="33"/>
                  </a:lnTo>
                  <a:lnTo>
                    <a:pt x="153" y="33"/>
                  </a:lnTo>
                  <a:lnTo>
                    <a:pt x="153" y="34"/>
                  </a:lnTo>
                  <a:lnTo>
                    <a:pt x="153" y="35"/>
                  </a:lnTo>
                  <a:lnTo>
                    <a:pt x="154" y="35"/>
                  </a:lnTo>
                  <a:lnTo>
                    <a:pt x="154" y="35"/>
                  </a:lnTo>
                  <a:lnTo>
                    <a:pt x="154" y="36"/>
                  </a:lnTo>
                  <a:lnTo>
                    <a:pt x="154" y="36"/>
                  </a:lnTo>
                  <a:lnTo>
                    <a:pt x="154" y="37"/>
                  </a:lnTo>
                  <a:lnTo>
                    <a:pt x="154" y="37"/>
                  </a:lnTo>
                  <a:lnTo>
                    <a:pt x="154" y="37"/>
                  </a:lnTo>
                  <a:lnTo>
                    <a:pt x="155" y="37"/>
                  </a:lnTo>
                  <a:lnTo>
                    <a:pt x="155" y="37"/>
                  </a:lnTo>
                  <a:lnTo>
                    <a:pt x="155" y="37"/>
                  </a:lnTo>
                  <a:lnTo>
                    <a:pt x="155" y="38"/>
                  </a:lnTo>
                  <a:lnTo>
                    <a:pt x="156" y="38"/>
                  </a:lnTo>
                  <a:lnTo>
                    <a:pt x="156" y="38"/>
                  </a:lnTo>
                  <a:lnTo>
                    <a:pt x="156" y="39"/>
                  </a:lnTo>
                  <a:lnTo>
                    <a:pt x="156" y="39"/>
                  </a:lnTo>
                  <a:lnTo>
                    <a:pt x="157" y="39"/>
                  </a:lnTo>
                  <a:lnTo>
                    <a:pt x="157" y="39"/>
                  </a:lnTo>
                  <a:lnTo>
                    <a:pt x="157" y="39"/>
                  </a:lnTo>
                  <a:lnTo>
                    <a:pt x="157" y="39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8" y="40"/>
                  </a:lnTo>
                  <a:lnTo>
                    <a:pt x="158" y="40"/>
                  </a:lnTo>
                  <a:lnTo>
                    <a:pt x="158" y="40"/>
                  </a:lnTo>
                  <a:lnTo>
                    <a:pt x="159" y="40"/>
                  </a:lnTo>
                  <a:lnTo>
                    <a:pt x="160" y="41"/>
                  </a:lnTo>
                  <a:lnTo>
                    <a:pt x="160" y="41"/>
                  </a:lnTo>
                  <a:lnTo>
                    <a:pt x="161" y="42"/>
                  </a:lnTo>
                  <a:lnTo>
                    <a:pt x="162" y="42"/>
                  </a:lnTo>
                  <a:lnTo>
                    <a:pt x="163" y="42"/>
                  </a:lnTo>
                  <a:lnTo>
                    <a:pt x="164" y="42"/>
                  </a:lnTo>
                  <a:lnTo>
                    <a:pt x="165" y="42"/>
                  </a:lnTo>
                  <a:lnTo>
                    <a:pt x="166" y="42"/>
                  </a:lnTo>
                  <a:lnTo>
                    <a:pt x="168" y="42"/>
                  </a:lnTo>
                  <a:lnTo>
                    <a:pt x="171" y="42"/>
                  </a:lnTo>
                  <a:lnTo>
                    <a:pt x="173" y="42"/>
                  </a:lnTo>
                  <a:lnTo>
                    <a:pt x="174" y="42"/>
                  </a:lnTo>
                  <a:lnTo>
                    <a:pt x="176" y="42"/>
                  </a:lnTo>
                  <a:lnTo>
                    <a:pt x="176" y="42"/>
                  </a:lnTo>
                  <a:lnTo>
                    <a:pt x="176" y="43"/>
                  </a:lnTo>
                  <a:lnTo>
                    <a:pt x="176" y="43"/>
                  </a:lnTo>
                  <a:lnTo>
                    <a:pt x="176" y="43"/>
                  </a:lnTo>
                  <a:lnTo>
                    <a:pt x="176" y="43"/>
                  </a:lnTo>
                  <a:lnTo>
                    <a:pt x="176" y="43"/>
                  </a:lnTo>
                  <a:lnTo>
                    <a:pt x="176" y="43"/>
                  </a:lnTo>
                  <a:lnTo>
                    <a:pt x="177" y="43"/>
                  </a:lnTo>
                  <a:lnTo>
                    <a:pt x="177" y="43"/>
                  </a:lnTo>
                  <a:lnTo>
                    <a:pt x="177" y="42"/>
                  </a:lnTo>
                  <a:lnTo>
                    <a:pt x="177" y="42"/>
                  </a:lnTo>
                  <a:lnTo>
                    <a:pt x="178" y="42"/>
                  </a:lnTo>
                  <a:lnTo>
                    <a:pt x="179" y="42"/>
                  </a:lnTo>
                  <a:lnTo>
                    <a:pt x="180" y="42"/>
                  </a:lnTo>
                  <a:lnTo>
                    <a:pt x="181" y="42"/>
                  </a:lnTo>
                  <a:lnTo>
                    <a:pt x="182" y="42"/>
                  </a:lnTo>
                  <a:lnTo>
                    <a:pt x="182" y="41"/>
                  </a:lnTo>
                  <a:lnTo>
                    <a:pt x="183" y="41"/>
                  </a:lnTo>
                  <a:lnTo>
                    <a:pt x="184" y="40"/>
                  </a:lnTo>
                  <a:lnTo>
                    <a:pt x="184" y="40"/>
                  </a:lnTo>
                  <a:lnTo>
                    <a:pt x="185" y="39"/>
                  </a:lnTo>
                  <a:lnTo>
                    <a:pt x="185" y="38"/>
                  </a:lnTo>
                  <a:lnTo>
                    <a:pt x="186" y="37"/>
                  </a:lnTo>
                  <a:lnTo>
                    <a:pt x="187" y="35"/>
                  </a:lnTo>
                  <a:lnTo>
                    <a:pt x="188" y="36"/>
                  </a:lnTo>
                  <a:lnTo>
                    <a:pt x="188" y="35"/>
                  </a:lnTo>
                  <a:lnTo>
                    <a:pt x="188" y="35"/>
                  </a:lnTo>
                  <a:lnTo>
                    <a:pt x="188" y="35"/>
                  </a:lnTo>
                  <a:lnTo>
                    <a:pt x="189" y="35"/>
                  </a:lnTo>
                  <a:lnTo>
                    <a:pt x="189" y="34"/>
                  </a:lnTo>
                  <a:lnTo>
                    <a:pt x="189" y="34"/>
                  </a:lnTo>
                  <a:lnTo>
                    <a:pt x="189" y="34"/>
                  </a:lnTo>
                  <a:lnTo>
                    <a:pt x="189" y="34"/>
                  </a:lnTo>
                  <a:lnTo>
                    <a:pt x="190" y="34"/>
                  </a:lnTo>
                  <a:lnTo>
                    <a:pt x="190" y="34"/>
                  </a:lnTo>
                  <a:lnTo>
                    <a:pt x="190" y="35"/>
                  </a:lnTo>
                  <a:lnTo>
                    <a:pt x="190" y="35"/>
                  </a:lnTo>
                  <a:lnTo>
                    <a:pt x="190" y="36"/>
                  </a:lnTo>
                  <a:lnTo>
                    <a:pt x="190" y="36"/>
                  </a:lnTo>
                  <a:lnTo>
                    <a:pt x="190" y="37"/>
                  </a:lnTo>
                  <a:lnTo>
                    <a:pt x="190" y="38"/>
                  </a:lnTo>
                  <a:lnTo>
                    <a:pt x="190" y="38"/>
                  </a:lnTo>
                  <a:lnTo>
                    <a:pt x="190" y="38"/>
                  </a:lnTo>
                  <a:lnTo>
                    <a:pt x="191" y="38"/>
                  </a:lnTo>
                  <a:lnTo>
                    <a:pt x="191" y="39"/>
                  </a:lnTo>
                  <a:lnTo>
                    <a:pt x="191" y="39"/>
                  </a:lnTo>
                  <a:lnTo>
                    <a:pt x="192" y="39"/>
                  </a:lnTo>
                  <a:lnTo>
                    <a:pt x="192" y="39"/>
                  </a:lnTo>
                  <a:lnTo>
                    <a:pt x="193" y="39"/>
                  </a:lnTo>
                  <a:lnTo>
                    <a:pt x="193" y="39"/>
                  </a:lnTo>
                  <a:lnTo>
                    <a:pt x="194" y="39"/>
                  </a:lnTo>
                  <a:lnTo>
                    <a:pt x="194" y="39"/>
                  </a:lnTo>
                  <a:lnTo>
                    <a:pt x="195" y="40"/>
                  </a:lnTo>
                  <a:lnTo>
                    <a:pt x="196" y="41"/>
                  </a:lnTo>
                  <a:lnTo>
                    <a:pt x="197" y="41"/>
                  </a:lnTo>
                  <a:lnTo>
                    <a:pt x="197" y="42"/>
                  </a:lnTo>
                  <a:lnTo>
                    <a:pt x="198" y="43"/>
                  </a:lnTo>
                  <a:lnTo>
                    <a:pt x="199" y="44"/>
                  </a:lnTo>
                  <a:lnTo>
                    <a:pt x="199" y="44"/>
                  </a:lnTo>
                  <a:lnTo>
                    <a:pt x="199" y="45"/>
                  </a:lnTo>
                  <a:lnTo>
                    <a:pt x="199" y="45"/>
                  </a:lnTo>
                  <a:lnTo>
                    <a:pt x="199" y="45"/>
                  </a:lnTo>
                  <a:lnTo>
                    <a:pt x="200" y="46"/>
                  </a:lnTo>
                  <a:lnTo>
                    <a:pt x="200" y="47"/>
                  </a:lnTo>
                  <a:lnTo>
                    <a:pt x="200" y="47"/>
                  </a:lnTo>
                  <a:lnTo>
                    <a:pt x="200" y="47"/>
                  </a:lnTo>
                  <a:lnTo>
                    <a:pt x="199" y="47"/>
                  </a:lnTo>
                  <a:lnTo>
                    <a:pt x="198" y="47"/>
                  </a:lnTo>
                  <a:lnTo>
                    <a:pt x="198" y="47"/>
                  </a:lnTo>
                  <a:lnTo>
                    <a:pt x="197" y="48"/>
                  </a:lnTo>
                  <a:lnTo>
                    <a:pt x="197" y="48"/>
                  </a:lnTo>
                  <a:lnTo>
                    <a:pt x="196" y="48"/>
                  </a:lnTo>
                  <a:lnTo>
                    <a:pt x="196" y="48"/>
                  </a:lnTo>
                  <a:lnTo>
                    <a:pt x="195" y="49"/>
                  </a:lnTo>
                  <a:lnTo>
                    <a:pt x="195" y="50"/>
                  </a:lnTo>
                  <a:lnTo>
                    <a:pt x="194" y="51"/>
                  </a:lnTo>
                  <a:lnTo>
                    <a:pt x="194" y="52"/>
                  </a:lnTo>
                  <a:lnTo>
                    <a:pt x="194" y="53"/>
                  </a:lnTo>
                  <a:lnTo>
                    <a:pt x="194" y="54"/>
                  </a:lnTo>
                  <a:lnTo>
                    <a:pt x="194" y="54"/>
                  </a:lnTo>
                  <a:lnTo>
                    <a:pt x="195" y="55"/>
                  </a:lnTo>
                  <a:lnTo>
                    <a:pt x="196" y="56"/>
                  </a:lnTo>
                  <a:lnTo>
                    <a:pt x="196" y="58"/>
                  </a:lnTo>
                  <a:lnTo>
                    <a:pt x="197" y="58"/>
                  </a:lnTo>
                  <a:lnTo>
                    <a:pt x="197" y="59"/>
                  </a:lnTo>
                  <a:lnTo>
                    <a:pt x="197" y="60"/>
                  </a:lnTo>
                  <a:lnTo>
                    <a:pt x="197" y="61"/>
                  </a:lnTo>
                  <a:lnTo>
                    <a:pt x="198" y="62"/>
                  </a:lnTo>
                  <a:lnTo>
                    <a:pt x="198" y="63"/>
                  </a:lnTo>
                  <a:lnTo>
                    <a:pt x="197" y="64"/>
                  </a:lnTo>
                  <a:lnTo>
                    <a:pt x="197" y="65"/>
                  </a:lnTo>
                  <a:lnTo>
                    <a:pt x="195" y="67"/>
                  </a:lnTo>
                  <a:lnTo>
                    <a:pt x="193" y="68"/>
                  </a:lnTo>
                  <a:lnTo>
                    <a:pt x="188" y="71"/>
                  </a:lnTo>
                  <a:lnTo>
                    <a:pt x="186" y="72"/>
                  </a:lnTo>
                  <a:lnTo>
                    <a:pt x="184" y="73"/>
                  </a:lnTo>
                  <a:lnTo>
                    <a:pt x="181" y="74"/>
                  </a:lnTo>
                  <a:lnTo>
                    <a:pt x="179" y="75"/>
                  </a:lnTo>
                  <a:lnTo>
                    <a:pt x="179" y="79"/>
                  </a:lnTo>
                  <a:lnTo>
                    <a:pt x="179" y="82"/>
                  </a:lnTo>
                  <a:lnTo>
                    <a:pt x="179" y="85"/>
                  </a:lnTo>
                  <a:lnTo>
                    <a:pt x="179" y="88"/>
                  </a:lnTo>
                  <a:lnTo>
                    <a:pt x="179" y="91"/>
                  </a:lnTo>
                  <a:lnTo>
                    <a:pt x="179" y="93"/>
                  </a:lnTo>
                  <a:lnTo>
                    <a:pt x="180" y="96"/>
                  </a:lnTo>
                  <a:lnTo>
                    <a:pt x="181" y="99"/>
                  </a:lnTo>
                  <a:lnTo>
                    <a:pt x="180" y="99"/>
                  </a:lnTo>
                  <a:lnTo>
                    <a:pt x="180" y="99"/>
                  </a:lnTo>
                  <a:lnTo>
                    <a:pt x="181" y="100"/>
                  </a:lnTo>
                  <a:lnTo>
                    <a:pt x="181" y="100"/>
                  </a:lnTo>
                  <a:lnTo>
                    <a:pt x="181" y="100"/>
                  </a:lnTo>
                  <a:lnTo>
                    <a:pt x="181" y="100"/>
                  </a:lnTo>
                  <a:lnTo>
                    <a:pt x="182" y="100"/>
                  </a:lnTo>
                  <a:lnTo>
                    <a:pt x="182" y="100"/>
                  </a:lnTo>
                  <a:lnTo>
                    <a:pt x="182" y="101"/>
                  </a:lnTo>
                  <a:lnTo>
                    <a:pt x="182" y="101"/>
                  </a:lnTo>
                  <a:lnTo>
                    <a:pt x="182" y="102"/>
                  </a:lnTo>
                  <a:lnTo>
                    <a:pt x="182" y="102"/>
                  </a:lnTo>
                  <a:lnTo>
                    <a:pt x="182" y="102"/>
                  </a:lnTo>
                  <a:lnTo>
                    <a:pt x="182" y="103"/>
                  </a:lnTo>
                  <a:lnTo>
                    <a:pt x="182" y="103"/>
                  </a:lnTo>
                  <a:lnTo>
                    <a:pt x="182" y="103"/>
                  </a:lnTo>
                  <a:lnTo>
                    <a:pt x="183" y="103"/>
                  </a:lnTo>
                  <a:lnTo>
                    <a:pt x="183" y="103"/>
                  </a:lnTo>
                  <a:lnTo>
                    <a:pt x="183" y="104"/>
                  </a:lnTo>
                  <a:lnTo>
                    <a:pt x="184" y="104"/>
                  </a:lnTo>
                  <a:lnTo>
                    <a:pt x="184" y="104"/>
                  </a:lnTo>
                  <a:lnTo>
                    <a:pt x="184" y="104"/>
                  </a:lnTo>
                  <a:lnTo>
                    <a:pt x="184" y="105"/>
                  </a:lnTo>
                  <a:lnTo>
                    <a:pt x="184" y="105"/>
                  </a:lnTo>
                  <a:lnTo>
                    <a:pt x="184" y="106"/>
                  </a:lnTo>
                  <a:lnTo>
                    <a:pt x="184" y="106"/>
                  </a:lnTo>
                  <a:lnTo>
                    <a:pt x="184" y="106"/>
                  </a:lnTo>
                  <a:lnTo>
                    <a:pt x="184" y="107"/>
                  </a:lnTo>
                  <a:lnTo>
                    <a:pt x="184" y="107"/>
                  </a:lnTo>
                  <a:lnTo>
                    <a:pt x="185" y="107"/>
                  </a:lnTo>
                  <a:lnTo>
                    <a:pt x="185" y="107"/>
                  </a:lnTo>
                  <a:lnTo>
                    <a:pt x="186" y="107"/>
                  </a:lnTo>
                  <a:lnTo>
                    <a:pt x="186" y="109"/>
                  </a:lnTo>
                  <a:lnTo>
                    <a:pt x="186" y="111"/>
                  </a:lnTo>
                  <a:lnTo>
                    <a:pt x="186" y="113"/>
                  </a:lnTo>
                  <a:lnTo>
                    <a:pt x="186" y="115"/>
                  </a:lnTo>
                  <a:lnTo>
                    <a:pt x="185" y="115"/>
                  </a:lnTo>
                  <a:lnTo>
                    <a:pt x="184" y="116"/>
                  </a:lnTo>
                  <a:lnTo>
                    <a:pt x="184" y="116"/>
                  </a:lnTo>
                  <a:lnTo>
                    <a:pt x="183" y="116"/>
                  </a:lnTo>
                  <a:lnTo>
                    <a:pt x="183" y="117"/>
                  </a:lnTo>
                  <a:lnTo>
                    <a:pt x="183" y="117"/>
                  </a:lnTo>
                  <a:lnTo>
                    <a:pt x="183" y="118"/>
                  </a:lnTo>
                  <a:lnTo>
                    <a:pt x="182" y="119"/>
                  </a:lnTo>
                  <a:lnTo>
                    <a:pt x="181" y="119"/>
                  </a:lnTo>
                  <a:lnTo>
                    <a:pt x="180" y="119"/>
                  </a:lnTo>
                  <a:lnTo>
                    <a:pt x="179" y="119"/>
                  </a:lnTo>
                  <a:lnTo>
                    <a:pt x="179" y="119"/>
                  </a:lnTo>
                  <a:lnTo>
                    <a:pt x="179" y="119"/>
                  </a:lnTo>
                  <a:lnTo>
                    <a:pt x="178" y="119"/>
                  </a:lnTo>
                  <a:lnTo>
                    <a:pt x="178" y="119"/>
                  </a:lnTo>
                  <a:lnTo>
                    <a:pt x="178" y="119"/>
                  </a:lnTo>
                  <a:lnTo>
                    <a:pt x="177" y="119"/>
                  </a:lnTo>
                  <a:lnTo>
                    <a:pt x="177" y="119"/>
                  </a:lnTo>
                  <a:lnTo>
                    <a:pt x="177" y="119"/>
                  </a:lnTo>
                  <a:lnTo>
                    <a:pt x="177" y="120"/>
                  </a:lnTo>
                  <a:lnTo>
                    <a:pt x="177" y="120"/>
                  </a:lnTo>
                  <a:lnTo>
                    <a:pt x="177" y="121"/>
                  </a:lnTo>
                  <a:lnTo>
                    <a:pt x="177" y="121"/>
                  </a:lnTo>
                  <a:lnTo>
                    <a:pt x="176" y="122"/>
                  </a:lnTo>
                  <a:lnTo>
                    <a:pt x="176" y="122"/>
                  </a:lnTo>
                  <a:lnTo>
                    <a:pt x="175" y="123"/>
                  </a:lnTo>
                  <a:lnTo>
                    <a:pt x="175" y="123"/>
                  </a:lnTo>
                  <a:lnTo>
                    <a:pt x="174" y="124"/>
                  </a:lnTo>
                  <a:lnTo>
                    <a:pt x="174" y="125"/>
                  </a:lnTo>
                  <a:lnTo>
                    <a:pt x="174" y="125"/>
                  </a:lnTo>
                  <a:lnTo>
                    <a:pt x="174" y="125"/>
                  </a:lnTo>
                  <a:lnTo>
                    <a:pt x="173" y="125"/>
                  </a:lnTo>
                  <a:lnTo>
                    <a:pt x="173" y="125"/>
                  </a:lnTo>
                  <a:lnTo>
                    <a:pt x="173" y="125"/>
                  </a:lnTo>
                  <a:lnTo>
                    <a:pt x="172" y="125"/>
                  </a:lnTo>
                  <a:lnTo>
                    <a:pt x="172" y="125"/>
                  </a:lnTo>
                  <a:lnTo>
                    <a:pt x="171" y="125"/>
                  </a:lnTo>
                  <a:lnTo>
                    <a:pt x="171" y="125"/>
                  </a:lnTo>
                  <a:lnTo>
                    <a:pt x="170" y="125"/>
                  </a:lnTo>
                  <a:lnTo>
                    <a:pt x="170" y="124"/>
                  </a:lnTo>
                  <a:lnTo>
                    <a:pt x="169" y="124"/>
                  </a:lnTo>
                  <a:lnTo>
                    <a:pt x="169" y="124"/>
                  </a:lnTo>
                  <a:lnTo>
                    <a:pt x="169" y="123"/>
                  </a:lnTo>
                  <a:lnTo>
                    <a:pt x="169" y="123"/>
                  </a:lnTo>
                  <a:lnTo>
                    <a:pt x="168" y="123"/>
                  </a:lnTo>
                  <a:lnTo>
                    <a:pt x="168" y="122"/>
                  </a:lnTo>
                  <a:lnTo>
                    <a:pt x="168" y="122"/>
                  </a:lnTo>
                  <a:lnTo>
                    <a:pt x="167" y="122"/>
                  </a:lnTo>
                  <a:lnTo>
                    <a:pt x="166" y="122"/>
                  </a:lnTo>
                  <a:lnTo>
                    <a:pt x="165" y="122"/>
                  </a:lnTo>
                  <a:lnTo>
                    <a:pt x="164" y="122"/>
                  </a:lnTo>
                  <a:lnTo>
                    <a:pt x="163" y="122"/>
                  </a:lnTo>
                  <a:lnTo>
                    <a:pt x="163" y="122"/>
                  </a:lnTo>
                  <a:lnTo>
                    <a:pt x="163" y="122"/>
                  </a:lnTo>
                  <a:lnTo>
                    <a:pt x="162" y="122"/>
                  </a:lnTo>
                  <a:lnTo>
                    <a:pt x="162" y="122"/>
                  </a:lnTo>
                  <a:lnTo>
                    <a:pt x="162" y="123"/>
                  </a:lnTo>
                  <a:lnTo>
                    <a:pt x="162" y="123"/>
                  </a:lnTo>
                  <a:lnTo>
                    <a:pt x="162" y="124"/>
                  </a:lnTo>
                  <a:lnTo>
                    <a:pt x="161" y="124"/>
                  </a:lnTo>
                  <a:lnTo>
                    <a:pt x="160" y="124"/>
                  </a:lnTo>
                  <a:lnTo>
                    <a:pt x="160" y="124"/>
                  </a:lnTo>
                  <a:lnTo>
                    <a:pt x="159" y="124"/>
                  </a:lnTo>
                  <a:lnTo>
                    <a:pt x="158" y="123"/>
                  </a:lnTo>
                  <a:lnTo>
                    <a:pt x="158" y="123"/>
                  </a:lnTo>
                  <a:lnTo>
                    <a:pt x="158" y="124"/>
                  </a:lnTo>
                  <a:lnTo>
                    <a:pt x="157" y="124"/>
                  </a:lnTo>
                  <a:lnTo>
                    <a:pt x="157" y="124"/>
                  </a:lnTo>
                  <a:lnTo>
                    <a:pt x="157" y="124"/>
                  </a:lnTo>
                  <a:lnTo>
                    <a:pt x="157" y="125"/>
                  </a:lnTo>
                  <a:lnTo>
                    <a:pt x="157" y="125"/>
                  </a:lnTo>
                  <a:lnTo>
                    <a:pt x="156" y="125"/>
                  </a:lnTo>
                  <a:lnTo>
                    <a:pt x="155" y="125"/>
                  </a:lnTo>
                  <a:lnTo>
                    <a:pt x="155" y="125"/>
                  </a:lnTo>
                  <a:lnTo>
                    <a:pt x="154" y="125"/>
                  </a:lnTo>
                  <a:lnTo>
                    <a:pt x="154" y="125"/>
                  </a:lnTo>
                  <a:lnTo>
                    <a:pt x="153" y="125"/>
                  </a:lnTo>
                  <a:lnTo>
                    <a:pt x="152" y="125"/>
                  </a:lnTo>
                  <a:lnTo>
                    <a:pt x="151" y="125"/>
                  </a:lnTo>
                  <a:lnTo>
                    <a:pt x="151" y="125"/>
                  </a:lnTo>
                  <a:lnTo>
                    <a:pt x="149" y="125"/>
                  </a:lnTo>
                  <a:lnTo>
                    <a:pt x="148" y="126"/>
                  </a:lnTo>
                  <a:lnTo>
                    <a:pt x="147" y="126"/>
                  </a:lnTo>
                  <a:lnTo>
                    <a:pt x="146" y="125"/>
                  </a:lnTo>
                  <a:lnTo>
                    <a:pt x="145" y="125"/>
                  </a:lnTo>
                  <a:lnTo>
                    <a:pt x="144" y="125"/>
                  </a:lnTo>
                  <a:lnTo>
                    <a:pt x="143" y="125"/>
                  </a:lnTo>
                  <a:lnTo>
                    <a:pt x="142" y="124"/>
                  </a:lnTo>
                  <a:lnTo>
                    <a:pt x="141" y="124"/>
                  </a:lnTo>
                  <a:lnTo>
                    <a:pt x="139" y="123"/>
                  </a:lnTo>
                  <a:lnTo>
                    <a:pt x="138" y="123"/>
                  </a:lnTo>
                  <a:lnTo>
                    <a:pt x="137" y="122"/>
                  </a:lnTo>
                  <a:lnTo>
                    <a:pt x="137" y="122"/>
                  </a:lnTo>
                  <a:lnTo>
                    <a:pt x="136" y="122"/>
                  </a:lnTo>
                  <a:lnTo>
                    <a:pt x="135" y="122"/>
                  </a:lnTo>
                  <a:lnTo>
                    <a:pt x="135" y="122"/>
                  </a:lnTo>
                  <a:lnTo>
                    <a:pt x="134" y="122"/>
                  </a:lnTo>
                  <a:lnTo>
                    <a:pt x="134" y="122"/>
                  </a:lnTo>
                  <a:lnTo>
                    <a:pt x="133" y="123"/>
                  </a:lnTo>
                  <a:lnTo>
                    <a:pt x="133" y="124"/>
                  </a:lnTo>
                  <a:lnTo>
                    <a:pt x="132" y="124"/>
                  </a:lnTo>
                  <a:lnTo>
                    <a:pt x="132" y="125"/>
                  </a:lnTo>
                  <a:lnTo>
                    <a:pt x="132" y="126"/>
                  </a:lnTo>
                  <a:lnTo>
                    <a:pt x="132" y="127"/>
                  </a:lnTo>
                  <a:lnTo>
                    <a:pt x="132" y="129"/>
                  </a:lnTo>
                  <a:lnTo>
                    <a:pt x="132" y="130"/>
                  </a:lnTo>
                  <a:lnTo>
                    <a:pt x="132" y="132"/>
                  </a:lnTo>
                  <a:lnTo>
                    <a:pt x="132" y="134"/>
                  </a:lnTo>
                  <a:lnTo>
                    <a:pt x="132" y="135"/>
                  </a:lnTo>
                  <a:lnTo>
                    <a:pt x="132" y="136"/>
                  </a:lnTo>
                  <a:lnTo>
                    <a:pt x="132" y="137"/>
                  </a:lnTo>
                  <a:lnTo>
                    <a:pt x="132" y="137"/>
                  </a:lnTo>
                  <a:lnTo>
                    <a:pt x="132" y="137"/>
                  </a:lnTo>
                  <a:lnTo>
                    <a:pt x="131" y="137"/>
                  </a:lnTo>
                  <a:lnTo>
                    <a:pt x="131" y="138"/>
                  </a:lnTo>
                  <a:lnTo>
                    <a:pt x="131" y="138"/>
                  </a:lnTo>
                  <a:lnTo>
                    <a:pt x="131" y="139"/>
                  </a:lnTo>
                  <a:lnTo>
                    <a:pt x="131" y="139"/>
                  </a:lnTo>
                  <a:lnTo>
                    <a:pt x="131" y="140"/>
                  </a:lnTo>
                  <a:lnTo>
                    <a:pt x="131" y="140"/>
                  </a:lnTo>
                  <a:lnTo>
                    <a:pt x="131" y="144"/>
                  </a:lnTo>
                  <a:lnTo>
                    <a:pt x="131" y="149"/>
                  </a:lnTo>
                  <a:lnTo>
                    <a:pt x="131" y="153"/>
                  </a:lnTo>
                  <a:lnTo>
                    <a:pt x="131" y="157"/>
                  </a:lnTo>
                  <a:lnTo>
                    <a:pt x="130" y="157"/>
                  </a:lnTo>
                  <a:lnTo>
                    <a:pt x="130" y="157"/>
                  </a:lnTo>
                  <a:lnTo>
                    <a:pt x="130" y="157"/>
                  </a:lnTo>
                  <a:lnTo>
                    <a:pt x="129" y="158"/>
                  </a:lnTo>
                  <a:lnTo>
                    <a:pt x="129" y="158"/>
                  </a:lnTo>
                  <a:lnTo>
                    <a:pt x="129" y="159"/>
                  </a:lnTo>
                  <a:lnTo>
                    <a:pt x="129" y="159"/>
                  </a:lnTo>
                  <a:lnTo>
                    <a:pt x="129" y="160"/>
                  </a:lnTo>
                  <a:lnTo>
                    <a:pt x="129" y="160"/>
                  </a:lnTo>
                  <a:lnTo>
                    <a:pt x="129" y="162"/>
                  </a:lnTo>
                  <a:lnTo>
                    <a:pt x="129" y="163"/>
                  </a:lnTo>
                  <a:lnTo>
                    <a:pt x="129" y="166"/>
                  </a:lnTo>
                  <a:lnTo>
                    <a:pt x="129" y="169"/>
                  </a:lnTo>
                  <a:lnTo>
                    <a:pt x="129" y="170"/>
                  </a:lnTo>
                  <a:lnTo>
                    <a:pt x="129" y="172"/>
                  </a:lnTo>
                  <a:lnTo>
                    <a:pt x="128" y="172"/>
                  </a:lnTo>
                  <a:lnTo>
                    <a:pt x="127" y="172"/>
                  </a:lnTo>
                  <a:lnTo>
                    <a:pt x="126" y="171"/>
                  </a:lnTo>
                  <a:lnTo>
                    <a:pt x="125" y="171"/>
                  </a:lnTo>
                  <a:lnTo>
                    <a:pt x="125" y="170"/>
                  </a:lnTo>
                  <a:lnTo>
                    <a:pt x="125" y="170"/>
                  </a:lnTo>
                  <a:lnTo>
                    <a:pt x="124" y="169"/>
                  </a:lnTo>
                  <a:lnTo>
                    <a:pt x="124" y="169"/>
                  </a:lnTo>
                  <a:lnTo>
                    <a:pt x="124" y="168"/>
                  </a:lnTo>
                  <a:lnTo>
                    <a:pt x="124" y="168"/>
                  </a:lnTo>
                  <a:lnTo>
                    <a:pt x="124" y="167"/>
                  </a:lnTo>
                  <a:lnTo>
                    <a:pt x="123" y="167"/>
                  </a:lnTo>
                  <a:lnTo>
                    <a:pt x="123" y="167"/>
                  </a:lnTo>
                  <a:lnTo>
                    <a:pt x="123" y="167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0" y="164"/>
                  </a:lnTo>
                  <a:lnTo>
                    <a:pt x="118" y="162"/>
                  </a:lnTo>
                  <a:lnTo>
                    <a:pt x="116" y="159"/>
                  </a:lnTo>
                  <a:lnTo>
                    <a:pt x="114" y="156"/>
                  </a:lnTo>
                  <a:lnTo>
                    <a:pt x="112" y="153"/>
                  </a:lnTo>
                  <a:lnTo>
                    <a:pt x="110" y="150"/>
                  </a:lnTo>
                  <a:lnTo>
                    <a:pt x="109" y="148"/>
                  </a:lnTo>
                  <a:lnTo>
                    <a:pt x="109" y="147"/>
                  </a:lnTo>
                  <a:lnTo>
                    <a:pt x="108" y="145"/>
                  </a:lnTo>
                  <a:lnTo>
                    <a:pt x="107" y="144"/>
                  </a:lnTo>
                  <a:lnTo>
                    <a:pt x="106" y="144"/>
                  </a:lnTo>
                  <a:lnTo>
                    <a:pt x="105" y="144"/>
                  </a:lnTo>
                  <a:lnTo>
                    <a:pt x="104" y="145"/>
                  </a:lnTo>
                  <a:lnTo>
                    <a:pt x="103" y="145"/>
                  </a:lnTo>
                  <a:lnTo>
                    <a:pt x="102" y="145"/>
                  </a:lnTo>
                  <a:lnTo>
                    <a:pt x="101" y="145"/>
                  </a:lnTo>
                  <a:lnTo>
                    <a:pt x="100" y="146"/>
                  </a:lnTo>
                  <a:lnTo>
                    <a:pt x="99" y="146"/>
                  </a:lnTo>
                  <a:lnTo>
                    <a:pt x="97" y="146"/>
                  </a:lnTo>
                  <a:lnTo>
                    <a:pt x="95" y="146"/>
                  </a:lnTo>
                  <a:lnTo>
                    <a:pt x="93" y="146"/>
                  </a:lnTo>
                  <a:lnTo>
                    <a:pt x="90" y="145"/>
                  </a:lnTo>
                  <a:lnTo>
                    <a:pt x="88" y="145"/>
                  </a:lnTo>
                  <a:lnTo>
                    <a:pt x="86" y="144"/>
                  </a:lnTo>
                  <a:lnTo>
                    <a:pt x="84" y="144"/>
                  </a:lnTo>
                  <a:lnTo>
                    <a:pt x="82" y="143"/>
                  </a:lnTo>
                  <a:lnTo>
                    <a:pt x="80" y="143"/>
                  </a:lnTo>
                  <a:lnTo>
                    <a:pt x="78" y="142"/>
                  </a:lnTo>
                  <a:lnTo>
                    <a:pt x="74" y="140"/>
                  </a:lnTo>
                  <a:lnTo>
                    <a:pt x="73" y="140"/>
                  </a:lnTo>
                  <a:lnTo>
                    <a:pt x="72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70" y="140"/>
                  </a:lnTo>
                  <a:lnTo>
                    <a:pt x="70" y="140"/>
                  </a:lnTo>
                  <a:lnTo>
                    <a:pt x="69" y="140"/>
                  </a:lnTo>
                  <a:lnTo>
                    <a:pt x="69" y="140"/>
                  </a:lnTo>
                  <a:lnTo>
                    <a:pt x="69" y="141"/>
                  </a:lnTo>
                  <a:lnTo>
                    <a:pt x="69" y="141"/>
                  </a:lnTo>
                  <a:lnTo>
                    <a:pt x="69" y="141"/>
                  </a:lnTo>
                  <a:lnTo>
                    <a:pt x="69" y="142"/>
                  </a:lnTo>
                  <a:lnTo>
                    <a:pt x="68" y="142"/>
                  </a:lnTo>
                  <a:lnTo>
                    <a:pt x="67" y="142"/>
                  </a:lnTo>
                  <a:lnTo>
                    <a:pt x="67" y="142"/>
                  </a:lnTo>
                  <a:lnTo>
                    <a:pt x="66" y="142"/>
                  </a:lnTo>
                  <a:lnTo>
                    <a:pt x="65" y="142"/>
                  </a:lnTo>
                  <a:lnTo>
                    <a:pt x="65" y="142"/>
                  </a:lnTo>
                  <a:lnTo>
                    <a:pt x="65" y="142"/>
                  </a:lnTo>
                  <a:lnTo>
                    <a:pt x="64" y="143"/>
                  </a:lnTo>
                  <a:lnTo>
                    <a:pt x="64" y="143"/>
                  </a:lnTo>
                  <a:lnTo>
                    <a:pt x="63" y="143"/>
                  </a:lnTo>
                  <a:lnTo>
                    <a:pt x="63" y="143"/>
                  </a:lnTo>
                  <a:lnTo>
                    <a:pt x="62" y="144"/>
                  </a:lnTo>
                  <a:lnTo>
                    <a:pt x="62" y="144"/>
                  </a:lnTo>
                  <a:lnTo>
                    <a:pt x="61" y="144"/>
                  </a:lnTo>
                  <a:lnTo>
                    <a:pt x="61" y="144"/>
                  </a:lnTo>
                  <a:lnTo>
                    <a:pt x="58" y="143"/>
                  </a:lnTo>
                  <a:lnTo>
                    <a:pt x="55" y="142"/>
                  </a:lnTo>
                  <a:lnTo>
                    <a:pt x="53" y="141"/>
                  </a:lnTo>
                  <a:lnTo>
                    <a:pt x="50" y="140"/>
                  </a:lnTo>
                  <a:lnTo>
                    <a:pt x="47" y="140"/>
                  </a:lnTo>
                  <a:lnTo>
                    <a:pt x="44" y="139"/>
                  </a:lnTo>
                  <a:lnTo>
                    <a:pt x="42" y="138"/>
                  </a:lnTo>
                  <a:lnTo>
                    <a:pt x="40" y="138"/>
                  </a:lnTo>
                  <a:lnTo>
                    <a:pt x="39" y="138"/>
                  </a:lnTo>
                  <a:lnTo>
                    <a:pt x="37" y="138"/>
                  </a:lnTo>
                  <a:lnTo>
                    <a:pt x="36" y="138"/>
                  </a:lnTo>
                  <a:lnTo>
                    <a:pt x="35" y="138"/>
                  </a:lnTo>
                  <a:lnTo>
                    <a:pt x="33" y="138"/>
                  </a:lnTo>
                  <a:lnTo>
                    <a:pt x="32" y="138"/>
                  </a:lnTo>
                  <a:lnTo>
                    <a:pt x="31" y="138"/>
                  </a:lnTo>
                  <a:lnTo>
                    <a:pt x="29" y="138"/>
                  </a:lnTo>
                  <a:lnTo>
                    <a:pt x="28" y="139"/>
                  </a:lnTo>
                  <a:lnTo>
                    <a:pt x="27" y="139"/>
                  </a:lnTo>
                  <a:lnTo>
                    <a:pt x="26" y="139"/>
                  </a:lnTo>
                  <a:lnTo>
                    <a:pt x="25" y="140"/>
                  </a:lnTo>
                  <a:lnTo>
                    <a:pt x="23" y="140"/>
                  </a:lnTo>
                  <a:lnTo>
                    <a:pt x="22" y="141"/>
                  </a:lnTo>
                  <a:lnTo>
                    <a:pt x="21" y="142"/>
                  </a:lnTo>
                  <a:lnTo>
                    <a:pt x="20" y="143"/>
                  </a:lnTo>
                  <a:lnTo>
                    <a:pt x="19" y="144"/>
                  </a:lnTo>
                  <a:lnTo>
                    <a:pt x="18" y="143"/>
                  </a:lnTo>
                  <a:lnTo>
                    <a:pt x="18" y="143"/>
                  </a:lnTo>
                  <a:lnTo>
                    <a:pt x="17" y="143"/>
                  </a:lnTo>
                  <a:lnTo>
                    <a:pt x="16" y="143"/>
                  </a:lnTo>
                  <a:lnTo>
                    <a:pt x="15" y="143"/>
                  </a:lnTo>
                  <a:lnTo>
                    <a:pt x="14" y="143"/>
                  </a:lnTo>
                  <a:lnTo>
                    <a:pt x="14" y="144"/>
                  </a:lnTo>
                  <a:lnTo>
                    <a:pt x="13" y="144"/>
                  </a:lnTo>
                  <a:lnTo>
                    <a:pt x="12" y="144"/>
                  </a:lnTo>
                  <a:lnTo>
                    <a:pt x="11" y="145"/>
                  </a:lnTo>
                  <a:lnTo>
                    <a:pt x="11" y="146"/>
                  </a:lnTo>
                  <a:lnTo>
                    <a:pt x="10" y="146"/>
                  </a:lnTo>
                  <a:lnTo>
                    <a:pt x="10" y="146"/>
                  </a:lnTo>
                  <a:lnTo>
                    <a:pt x="9" y="147"/>
                  </a:lnTo>
                  <a:lnTo>
                    <a:pt x="8" y="147"/>
                  </a:lnTo>
                  <a:lnTo>
                    <a:pt x="7" y="147"/>
                  </a:lnTo>
                  <a:lnTo>
                    <a:pt x="7" y="137"/>
                  </a:lnTo>
                  <a:lnTo>
                    <a:pt x="7" y="127"/>
                  </a:lnTo>
                  <a:lnTo>
                    <a:pt x="8" y="127"/>
                  </a:lnTo>
                  <a:lnTo>
                    <a:pt x="8" y="127"/>
                  </a:lnTo>
                  <a:lnTo>
                    <a:pt x="8" y="127"/>
                  </a:lnTo>
                  <a:lnTo>
                    <a:pt x="9" y="126"/>
                  </a:lnTo>
                  <a:lnTo>
                    <a:pt x="9" y="126"/>
                  </a:lnTo>
                  <a:lnTo>
                    <a:pt x="9" y="126"/>
                  </a:lnTo>
                  <a:lnTo>
                    <a:pt x="9" y="126"/>
                  </a:lnTo>
                  <a:lnTo>
                    <a:pt x="9" y="125"/>
                  </a:lnTo>
                  <a:lnTo>
                    <a:pt x="10" y="125"/>
                  </a:lnTo>
                  <a:lnTo>
                    <a:pt x="11" y="125"/>
                  </a:lnTo>
                  <a:lnTo>
                    <a:pt x="12" y="125"/>
                  </a:lnTo>
                  <a:lnTo>
                    <a:pt x="12" y="124"/>
                  </a:lnTo>
                  <a:lnTo>
                    <a:pt x="13" y="124"/>
                  </a:lnTo>
                  <a:lnTo>
                    <a:pt x="13" y="123"/>
                  </a:lnTo>
                  <a:lnTo>
                    <a:pt x="14" y="123"/>
                  </a:lnTo>
                  <a:lnTo>
                    <a:pt x="14" y="122"/>
                  </a:lnTo>
                  <a:lnTo>
                    <a:pt x="14" y="121"/>
                  </a:lnTo>
                  <a:lnTo>
                    <a:pt x="14" y="120"/>
                  </a:lnTo>
                  <a:lnTo>
                    <a:pt x="13" y="119"/>
                  </a:lnTo>
                  <a:lnTo>
                    <a:pt x="13" y="118"/>
                  </a:lnTo>
                  <a:lnTo>
                    <a:pt x="12" y="117"/>
                  </a:lnTo>
                  <a:lnTo>
                    <a:pt x="11" y="117"/>
                  </a:lnTo>
                  <a:lnTo>
                    <a:pt x="11" y="116"/>
                  </a:lnTo>
                  <a:lnTo>
                    <a:pt x="10" y="115"/>
                  </a:lnTo>
                  <a:lnTo>
                    <a:pt x="9" y="114"/>
                  </a:lnTo>
                  <a:lnTo>
                    <a:pt x="8" y="114"/>
                  </a:lnTo>
                  <a:lnTo>
                    <a:pt x="8" y="113"/>
                  </a:lnTo>
                  <a:lnTo>
                    <a:pt x="7" y="113"/>
                  </a:lnTo>
                  <a:lnTo>
                    <a:pt x="6" y="112"/>
                  </a:lnTo>
                  <a:lnTo>
                    <a:pt x="6" y="111"/>
                  </a:lnTo>
                  <a:lnTo>
                    <a:pt x="6" y="110"/>
                  </a:lnTo>
                  <a:lnTo>
                    <a:pt x="6" y="109"/>
                  </a:lnTo>
                  <a:lnTo>
                    <a:pt x="6" y="109"/>
                  </a:lnTo>
                  <a:lnTo>
                    <a:pt x="6" y="108"/>
                  </a:lnTo>
                  <a:lnTo>
                    <a:pt x="6" y="107"/>
                  </a:lnTo>
                  <a:lnTo>
                    <a:pt x="7" y="107"/>
                  </a:lnTo>
                  <a:lnTo>
                    <a:pt x="7" y="106"/>
                  </a:lnTo>
                  <a:lnTo>
                    <a:pt x="8" y="105"/>
                  </a:lnTo>
                  <a:lnTo>
                    <a:pt x="8" y="105"/>
                  </a:lnTo>
                  <a:lnTo>
                    <a:pt x="8" y="104"/>
                  </a:lnTo>
                  <a:lnTo>
                    <a:pt x="9" y="103"/>
                  </a:lnTo>
                  <a:lnTo>
                    <a:pt x="9" y="103"/>
                  </a:lnTo>
                  <a:lnTo>
                    <a:pt x="9" y="102"/>
                  </a:lnTo>
                  <a:lnTo>
                    <a:pt x="9" y="101"/>
                  </a:lnTo>
                  <a:lnTo>
                    <a:pt x="9" y="100"/>
                  </a:lnTo>
                  <a:lnTo>
                    <a:pt x="9" y="99"/>
                  </a:lnTo>
                  <a:lnTo>
                    <a:pt x="9" y="99"/>
                  </a:lnTo>
                  <a:lnTo>
                    <a:pt x="9" y="99"/>
                  </a:lnTo>
                  <a:lnTo>
                    <a:pt x="9" y="98"/>
                  </a:lnTo>
                  <a:lnTo>
                    <a:pt x="10" y="98"/>
                  </a:lnTo>
                  <a:lnTo>
                    <a:pt x="10" y="98"/>
                  </a:lnTo>
                  <a:lnTo>
                    <a:pt x="10" y="98"/>
                  </a:lnTo>
                  <a:lnTo>
                    <a:pt x="10" y="98"/>
                  </a:lnTo>
                  <a:lnTo>
                    <a:pt x="10" y="98"/>
                  </a:lnTo>
                  <a:lnTo>
                    <a:pt x="10" y="97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8" y="96"/>
                  </a:lnTo>
                  <a:lnTo>
                    <a:pt x="8" y="95"/>
                  </a:lnTo>
                  <a:lnTo>
                    <a:pt x="8" y="94"/>
                  </a:lnTo>
                  <a:lnTo>
                    <a:pt x="7" y="93"/>
                  </a:lnTo>
                  <a:lnTo>
                    <a:pt x="7" y="92"/>
                  </a:lnTo>
                  <a:lnTo>
                    <a:pt x="7" y="91"/>
                  </a:lnTo>
                  <a:lnTo>
                    <a:pt x="6" y="90"/>
                  </a:lnTo>
                  <a:lnTo>
                    <a:pt x="6" y="90"/>
                  </a:lnTo>
                  <a:lnTo>
                    <a:pt x="6" y="88"/>
                  </a:lnTo>
                  <a:lnTo>
                    <a:pt x="6" y="86"/>
                  </a:lnTo>
                  <a:lnTo>
                    <a:pt x="6" y="84"/>
                  </a:lnTo>
                  <a:lnTo>
                    <a:pt x="6" y="82"/>
                  </a:lnTo>
                  <a:lnTo>
                    <a:pt x="6" y="80"/>
                  </a:lnTo>
                  <a:lnTo>
                    <a:pt x="6" y="78"/>
                  </a:lnTo>
                  <a:lnTo>
                    <a:pt x="6" y="77"/>
                  </a:lnTo>
                  <a:lnTo>
                    <a:pt x="6" y="76"/>
                  </a:lnTo>
                  <a:lnTo>
                    <a:pt x="5" y="75"/>
                  </a:lnTo>
                  <a:lnTo>
                    <a:pt x="5" y="74"/>
                  </a:lnTo>
                  <a:lnTo>
                    <a:pt x="5" y="74"/>
                  </a:lnTo>
                  <a:lnTo>
                    <a:pt x="4" y="73"/>
                  </a:lnTo>
                  <a:lnTo>
                    <a:pt x="4" y="72"/>
                  </a:lnTo>
                  <a:lnTo>
                    <a:pt x="4" y="71"/>
                  </a:lnTo>
                  <a:lnTo>
                    <a:pt x="3" y="71"/>
                  </a:lnTo>
                  <a:lnTo>
                    <a:pt x="2" y="70"/>
                  </a:lnTo>
                  <a:lnTo>
                    <a:pt x="1" y="69"/>
                  </a:lnTo>
                  <a:lnTo>
                    <a:pt x="1" y="69"/>
                  </a:lnTo>
                  <a:lnTo>
                    <a:pt x="0" y="68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1" y="65"/>
                  </a:lnTo>
                  <a:lnTo>
                    <a:pt x="1" y="64"/>
                  </a:lnTo>
                  <a:lnTo>
                    <a:pt x="2" y="64"/>
                  </a:lnTo>
                  <a:lnTo>
                    <a:pt x="2" y="63"/>
                  </a:lnTo>
                  <a:lnTo>
                    <a:pt x="3" y="63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4" y="61"/>
                  </a:lnTo>
                  <a:lnTo>
                    <a:pt x="5" y="61"/>
                  </a:lnTo>
                  <a:lnTo>
                    <a:pt x="5" y="59"/>
                  </a:lnTo>
                  <a:lnTo>
                    <a:pt x="6" y="58"/>
                  </a:lnTo>
                  <a:lnTo>
                    <a:pt x="7" y="56"/>
                  </a:lnTo>
                  <a:lnTo>
                    <a:pt x="7" y="55"/>
                  </a:lnTo>
                  <a:lnTo>
                    <a:pt x="8" y="55"/>
                  </a:lnTo>
                  <a:lnTo>
                    <a:pt x="8" y="54"/>
                  </a:lnTo>
                  <a:lnTo>
                    <a:pt x="9" y="54"/>
                  </a:lnTo>
                  <a:lnTo>
                    <a:pt x="9" y="53"/>
                  </a:lnTo>
                  <a:lnTo>
                    <a:pt x="10" y="52"/>
                  </a:lnTo>
                  <a:lnTo>
                    <a:pt x="11" y="52"/>
                  </a:lnTo>
                </a:path>
              </a:pathLst>
            </a:custGeom>
            <a:grpFill/>
            <a:ln w="3175" cap="flat" cmpd="sng">
              <a:solidFill>
                <a:schemeClr val="accent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algn="ctr" defTabSz="781394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800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45" name="Freeform 7"/>
            <p:cNvSpPr>
              <a:spLocks/>
            </p:cNvSpPr>
            <p:nvPr/>
          </p:nvSpPr>
          <p:spPr bwMode="auto">
            <a:xfrm>
              <a:off x="1088669" y="2725961"/>
              <a:ext cx="1616638" cy="1470029"/>
            </a:xfrm>
            <a:custGeom>
              <a:avLst/>
              <a:gdLst/>
              <a:ahLst/>
              <a:cxnLst>
                <a:cxn ang="0">
                  <a:pos x="29" y="12"/>
                </a:cxn>
                <a:cxn ang="0">
                  <a:pos x="28" y="0"/>
                </a:cxn>
                <a:cxn ang="0">
                  <a:pos x="38" y="4"/>
                </a:cxn>
                <a:cxn ang="0">
                  <a:pos x="48" y="16"/>
                </a:cxn>
                <a:cxn ang="0">
                  <a:pos x="58" y="12"/>
                </a:cxn>
                <a:cxn ang="0">
                  <a:pos x="65" y="7"/>
                </a:cxn>
                <a:cxn ang="0">
                  <a:pos x="71" y="3"/>
                </a:cxn>
                <a:cxn ang="0">
                  <a:pos x="75" y="5"/>
                </a:cxn>
                <a:cxn ang="0">
                  <a:pos x="81" y="7"/>
                </a:cxn>
                <a:cxn ang="0">
                  <a:pos x="87" y="11"/>
                </a:cxn>
                <a:cxn ang="0">
                  <a:pos x="98" y="6"/>
                </a:cxn>
                <a:cxn ang="0">
                  <a:pos x="109" y="18"/>
                </a:cxn>
                <a:cxn ang="0">
                  <a:pos x="119" y="23"/>
                </a:cxn>
                <a:cxn ang="0">
                  <a:pos x="130" y="27"/>
                </a:cxn>
                <a:cxn ang="0">
                  <a:pos x="134" y="19"/>
                </a:cxn>
                <a:cxn ang="0">
                  <a:pos x="138" y="22"/>
                </a:cxn>
                <a:cxn ang="0">
                  <a:pos x="153" y="23"/>
                </a:cxn>
                <a:cxn ang="0">
                  <a:pos x="165" y="16"/>
                </a:cxn>
                <a:cxn ang="0">
                  <a:pos x="173" y="3"/>
                </a:cxn>
                <a:cxn ang="0">
                  <a:pos x="187" y="25"/>
                </a:cxn>
                <a:cxn ang="0">
                  <a:pos x="194" y="49"/>
                </a:cxn>
                <a:cxn ang="0">
                  <a:pos x="189" y="60"/>
                </a:cxn>
                <a:cxn ang="0">
                  <a:pos x="183" y="65"/>
                </a:cxn>
                <a:cxn ang="0">
                  <a:pos x="181" y="75"/>
                </a:cxn>
                <a:cxn ang="0">
                  <a:pos x="186" y="79"/>
                </a:cxn>
                <a:cxn ang="0">
                  <a:pos x="192" y="80"/>
                </a:cxn>
                <a:cxn ang="0">
                  <a:pos x="198" y="89"/>
                </a:cxn>
                <a:cxn ang="0">
                  <a:pos x="210" y="100"/>
                </a:cxn>
                <a:cxn ang="0">
                  <a:pos x="213" y="105"/>
                </a:cxn>
                <a:cxn ang="0">
                  <a:pos x="215" y="113"/>
                </a:cxn>
                <a:cxn ang="0">
                  <a:pos x="213" y="123"/>
                </a:cxn>
                <a:cxn ang="0">
                  <a:pos x="196" y="134"/>
                </a:cxn>
                <a:cxn ang="0">
                  <a:pos x="188" y="141"/>
                </a:cxn>
                <a:cxn ang="0">
                  <a:pos x="179" y="135"/>
                </a:cxn>
                <a:cxn ang="0">
                  <a:pos x="167" y="120"/>
                </a:cxn>
                <a:cxn ang="0">
                  <a:pos x="155" y="117"/>
                </a:cxn>
                <a:cxn ang="0">
                  <a:pos x="146" y="131"/>
                </a:cxn>
                <a:cxn ang="0">
                  <a:pos x="139" y="136"/>
                </a:cxn>
                <a:cxn ang="0">
                  <a:pos x="132" y="137"/>
                </a:cxn>
                <a:cxn ang="0">
                  <a:pos x="116" y="151"/>
                </a:cxn>
                <a:cxn ang="0">
                  <a:pos x="105" y="163"/>
                </a:cxn>
                <a:cxn ang="0">
                  <a:pos x="94" y="170"/>
                </a:cxn>
                <a:cxn ang="0">
                  <a:pos x="89" y="176"/>
                </a:cxn>
                <a:cxn ang="0">
                  <a:pos x="63" y="180"/>
                </a:cxn>
                <a:cxn ang="0">
                  <a:pos x="43" y="178"/>
                </a:cxn>
                <a:cxn ang="0">
                  <a:pos x="43" y="158"/>
                </a:cxn>
                <a:cxn ang="0">
                  <a:pos x="45" y="147"/>
                </a:cxn>
                <a:cxn ang="0">
                  <a:pos x="36" y="135"/>
                </a:cxn>
                <a:cxn ang="0">
                  <a:pos x="23" y="123"/>
                </a:cxn>
                <a:cxn ang="0">
                  <a:pos x="24" y="104"/>
                </a:cxn>
                <a:cxn ang="0">
                  <a:pos x="29" y="97"/>
                </a:cxn>
                <a:cxn ang="0">
                  <a:pos x="25" y="91"/>
                </a:cxn>
                <a:cxn ang="0">
                  <a:pos x="25" y="79"/>
                </a:cxn>
                <a:cxn ang="0">
                  <a:pos x="26" y="67"/>
                </a:cxn>
                <a:cxn ang="0">
                  <a:pos x="16" y="65"/>
                </a:cxn>
                <a:cxn ang="0">
                  <a:pos x="10" y="60"/>
                </a:cxn>
                <a:cxn ang="0">
                  <a:pos x="2" y="52"/>
                </a:cxn>
                <a:cxn ang="0">
                  <a:pos x="1" y="46"/>
                </a:cxn>
                <a:cxn ang="0">
                  <a:pos x="10" y="38"/>
                </a:cxn>
                <a:cxn ang="0">
                  <a:pos x="25" y="27"/>
                </a:cxn>
                <a:cxn ang="0">
                  <a:pos x="24" y="18"/>
                </a:cxn>
              </a:cxnLst>
              <a:rect l="0" t="0" r="r" b="b"/>
              <a:pathLst>
                <a:path w="216" h="183">
                  <a:moveTo>
                    <a:pt x="25" y="16"/>
                  </a:moveTo>
                  <a:lnTo>
                    <a:pt x="26" y="16"/>
                  </a:lnTo>
                  <a:lnTo>
                    <a:pt x="26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5"/>
                  </a:lnTo>
                  <a:lnTo>
                    <a:pt x="28" y="15"/>
                  </a:lnTo>
                  <a:lnTo>
                    <a:pt x="29" y="14"/>
                  </a:lnTo>
                  <a:lnTo>
                    <a:pt x="29" y="13"/>
                  </a:lnTo>
                  <a:lnTo>
                    <a:pt x="29" y="12"/>
                  </a:lnTo>
                  <a:lnTo>
                    <a:pt x="30" y="11"/>
                  </a:lnTo>
                  <a:lnTo>
                    <a:pt x="30" y="10"/>
                  </a:lnTo>
                  <a:lnTo>
                    <a:pt x="30" y="8"/>
                  </a:lnTo>
                  <a:lnTo>
                    <a:pt x="30" y="7"/>
                  </a:lnTo>
                  <a:lnTo>
                    <a:pt x="30" y="6"/>
                  </a:lnTo>
                  <a:lnTo>
                    <a:pt x="30" y="4"/>
                  </a:lnTo>
                  <a:lnTo>
                    <a:pt x="29" y="3"/>
                  </a:lnTo>
                  <a:lnTo>
                    <a:pt x="29" y="2"/>
                  </a:lnTo>
                  <a:lnTo>
                    <a:pt x="29" y="1"/>
                  </a:lnTo>
                  <a:lnTo>
                    <a:pt x="28" y="0"/>
                  </a:lnTo>
                  <a:lnTo>
                    <a:pt x="29" y="0"/>
                  </a:lnTo>
                  <a:lnTo>
                    <a:pt x="30" y="0"/>
                  </a:lnTo>
                  <a:lnTo>
                    <a:pt x="31" y="0"/>
                  </a:lnTo>
                  <a:lnTo>
                    <a:pt x="32" y="0"/>
                  </a:lnTo>
                  <a:lnTo>
                    <a:pt x="33" y="1"/>
                  </a:lnTo>
                  <a:lnTo>
                    <a:pt x="34" y="1"/>
                  </a:lnTo>
                  <a:lnTo>
                    <a:pt x="34" y="2"/>
                  </a:lnTo>
                  <a:lnTo>
                    <a:pt x="35" y="2"/>
                  </a:lnTo>
                  <a:lnTo>
                    <a:pt x="36" y="3"/>
                  </a:lnTo>
                  <a:lnTo>
                    <a:pt x="38" y="4"/>
                  </a:lnTo>
                  <a:lnTo>
                    <a:pt x="39" y="5"/>
                  </a:lnTo>
                  <a:lnTo>
                    <a:pt x="39" y="7"/>
                  </a:lnTo>
                  <a:lnTo>
                    <a:pt x="41" y="9"/>
                  </a:lnTo>
                  <a:lnTo>
                    <a:pt x="42" y="11"/>
                  </a:lnTo>
                  <a:lnTo>
                    <a:pt x="43" y="12"/>
                  </a:lnTo>
                  <a:lnTo>
                    <a:pt x="44" y="14"/>
                  </a:lnTo>
                  <a:lnTo>
                    <a:pt x="46" y="15"/>
                  </a:lnTo>
                  <a:lnTo>
                    <a:pt x="46" y="15"/>
                  </a:lnTo>
                  <a:lnTo>
                    <a:pt x="47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50" y="16"/>
                  </a:lnTo>
                  <a:lnTo>
                    <a:pt x="52" y="15"/>
                  </a:lnTo>
                  <a:lnTo>
                    <a:pt x="54" y="14"/>
                  </a:lnTo>
                  <a:lnTo>
                    <a:pt x="55" y="14"/>
                  </a:lnTo>
                  <a:lnTo>
                    <a:pt x="56" y="14"/>
                  </a:lnTo>
                  <a:lnTo>
                    <a:pt x="56" y="13"/>
                  </a:lnTo>
                  <a:lnTo>
                    <a:pt x="57" y="13"/>
                  </a:lnTo>
                  <a:lnTo>
                    <a:pt x="58" y="12"/>
                  </a:lnTo>
                  <a:lnTo>
                    <a:pt x="58" y="12"/>
                  </a:lnTo>
                  <a:lnTo>
                    <a:pt x="59" y="11"/>
                  </a:lnTo>
                  <a:lnTo>
                    <a:pt x="59" y="10"/>
                  </a:lnTo>
                  <a:lnTo>
                    <a:pt x="60" y="9"/>
                  </a:lnTo>
                  <a:lnTo>
                    <a:pt x="60" y="8"/>
                  </a:lnTo>
                  <a:lnTo>
                    <a:pt x="61" y="8"/>
                  </a:lnTo>
                  <a:lnTo>
                    <a:pt x="62" y="8"/>
                  </a:lnTo>
                  <a:lnTo>
                    <a:pt x="63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6" y="6"/>
                  </a:lnTo>
                  <a:lnTo>
                    <a:pt x="67" y="5"/>
                  </a:lnTo>
                  <a:lnTo>
                    <a:pt x="67" y="4"/>
                  </a:lnTo>
                  <a:lnTo>
                    <a:pt x="68" y="4"/>
                  </a:lnTo>
                  <a:lnTo>
                    <a:pt x="69" y="4"/>
                  </a:lnTo>
                  <a:lnTo>
                    <a:pt x="69" y="3"/>
                  </a:lnTo>
                  <a:lnTo>
                    <a:pt x="70" y="3"/>
                  </a:lnTo>
                  <a:lnTo>
                    <a:pt x="70" y="3"/>
                  </a:lnTo>
                  <a:lnTo>
                    <a:pt x="71" y="3"/>
                  </a:lnTo>
                  <a:lnTo>
                    <a:pt x="71" y="3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3" y="4"/>
                  </a:lnTo>
                  <a:lnTo>
                    <a:pt x="73" y="5"/>
                  </a:lnTo>
                  <a:lnTo>
                    <a:pt x="74" y="5"/>
                  </a:lnTo>
                  <a:lnTo>
                    <a:pt x="75" y="5"/>
                  </a:lnTo>
                  <a:lnTo>
                    <a:pt x="76" y="5"/>
                  </a:lnTo>
                  <a:lnTo>
                    <a:pt x="77" y="5"/>
                  </a:lnTo>
                  <a:lnTo>
                    <a:pt x="77" y="5"/>
                  </a:lnTo>
                  <a:lnTo>
                    <a:pt x="78" y="5"/>
                  </a:lnTo>
                  <a:lnTo>
                    <a:pt x="78" y="5"/>
                  </a:lnTo>
                  <a:lnTo>
                    <a:pt x="79" y="5"/>
                  </a:lnTo>
                  <a:lnTo>
                    <a:pt x="79" y="6"/>
                  </a:lnTo>
                  <a:lnTo>
                    <a:pt x="80" y="6"/>
                  </a:lnTo>
                  <a:lnTo>
                    <a:pt x="80" y="6"/>
                  </a:lnTo>
                  <a:lnTo>
                    <a:pt x="81" y="7"/>
                  </a:lnTo>
                  <a:lnTo>
                    <a:pt x="81" y="8"/>
                  </a:lnTo>
                  <a:lnTo>
                    <a:pt x="81" y="9"/>
                  </a:lnTo>
                  <a:lnTo>
                    <a:pt x="82" y="9"/>
                  </a:lnTo>
                  <a:lnTo>
                    <a:pt x="82" y="10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4" y="11"/>
                  </a:lnTo>
                  <a:lnTo>
                    <a:pt x="85" y="11"/>
                  </a:lnTo>
                  <a:lnTo>
                    <a:pt x="86" y="11"/>
                  </a:lnTo>
                  <a:lnTo>
                    <a:pt x="87" y="11"/>
                  </a:lnTo>
                  <a:lnTo>
                    <a:pt x="88" y="10"/>
                  </a:lnTo>
                  <a:lnTo>
                    <a:pt x="89" y="9"/>
                  </a:lnTo>
                  <a:lnTo>
                    <a:pt x="91" y="8"/>
                  </a:lnTo>
                  <a:lnTo>
                    <a:pt x="92" y="8"/>
                  </a:lnTo>
                  <a:lnTo>
                    <a:pt x="92" y="7"/>
                  </a:lnTo>
                  <a:lnTo>
                    <a:pt x="93" y="7"/>
                  </a:lnTo>
                  <a:lnTo>
                    <a:pt x="95" y="6"/>
                  </a:lnTo>
                  <a:lnTo>
                    <a:pt x="96" y="6"/>
                  </a:lnTo>
                  <a:lnTo>
                    <a:pt x="97" y="6"/>
                  </a:lnTo>
                  <a:lnTo>
                    <a:pt x="98" y="6"/>
                  </a:lnTo>
                  <a:lnTo>
                    <a:pt x="100" y="6"/>
                  </a:lnTo>
                  <a:lnTo>
                    <a:pt x="101" y="6"/>
                  </a:lnTo>
                  <a:lnTo>
                    <a:pt x="102" y="6"/>
                  </a:lnTo>
                  <a:lnTo>
                    <a:pt x="103" y="6"/>
                  </a:lnTo>
                  <a:lnTo>
                    <a:pt x="104" y="8"/>
                  </a:lnTo>
                  <a:lnTo>
                    <a:pt x="105" y="11"/>
                  </a:lnTo>
                  <a:lnTo>
                    <a:pt x="106" y="13"/>
                  </a:lnTo>
                  <a:lnTo>
                    <a:pt x="108" y="15"/>
                  </a:lnTo>
                  <a:lnTo>
                    <a:pt x="109" y="17"/>
                  </a:lnTo>
                  <a:lnTo>
                    <a:pt x="109" y="18"/>
                  </a:lnTo>
                  <a:lnTo>
                    <a:pt x="110" y="19"/>
                  </a:lnTo>
                  <a:lnTo>
                    <a:pt x="111" y="20"/>
                  </a:lnTo>
                  <a:lnTo>
                    <a:pt x="112" y="21"/>
                  </a:lnTo>
                  <a:lnTo>
                    <a:pt x="112" y="22"/>
                  </a:lnTo>
                  <a:lnTo>
                    <a:pt x="113" y="23"/>
                  </a:lnTo>
                  <a:lnTo>
                    <a:pt x="115" y="23"/>
                  </a:lnTo>
                  <a:lnTo>
                    <a:pt x="116" y="23"/>
                  </a:lnTo>
                  <a:lnTo>
                    <a:pt x="117" y="23"/>
                  </a:lnTo>
                  <a:lnTo>
                    <a:pt x="118" y="23"/>
                  </a:lnTo>
                  <a:lnTo>
                    <a:pt x="119" y="23"/>
                  </a:lnTo>
                  <a:lnTo>
                    <a:pt x="120" y="23"/>
                  </a:lnTo>
                  <a:lnTo>
                    <a:pt x="121" y="24"/>
                  </a:lnTo>
                  <a:lnTo>
                    <a:pt x="122" y="24"/>
                  </a:lnTo>
                  <a:lnTo>
                    <a:pt x="123" y="24"/>
                  </a:lnTo>
                  <a:lnTo>
                    <a:pt x="124" y="25"/>
                  </a:lnTo>
                  <a:lnTo>
                    <a:pt x="125" y="26"/>
                  </a:lnTo>
                  <a:lnTo>
                    <a:pt x="127" y="27"/>
                  </a:lnTo>
                  <a:lnTo>
                    <a:pt x="128" y="28"/>
                  </a:lnTo>
                  <a:lnTo>
                    <a:pt x="129" y="28"/>
                  </a:lnTo>
                  <a:lnTo>
                    <a:pt x="130" y="27"/>
                  </a:lnTo>
                  <a:lnTo>
                    <a:pt x="130" y="27"/>
                  </a:lnTo>
                  <a:lnTo>
                    <a:pt x="131" y="27"/>
                  </a:lnTo>
                  <a:lnTo>
                    <a:pt x="131" y="26"/>
                  </a:lnTo>
                  <a:lnTo>
                    <a:pt x="132" y="25"/>
                  </a:lnTo>
                  <a:lnTo>
                    <a:pt x="132" y="25"/>
                  </a:lnTo>
                  <a:lnTo>
                    <a:pt x="133" y="24"/>
                  </a:lnTo>
                  <a:lnTo>
                    <a:pt x="133" y="23"/>
                  </a:lnTo>
                  <a:lnTo>
                    <a:pt x="134" y="21"/>
                  </a:lnTo>
                  <a:lnTo>
                    <a:pt x="134" y="19"/>
                  </a:lnTo>
                  <a:lnTo>
                    <a:pt x="134" y="19"/>
                  </a:lnTo>
                  <a:lnTo>
                    <a:pt x="135" y="18"/>
                  </a:lnTo>
                  <a:lnTo>
                    <a:pt x="135" y="18"/>
                  </a:lnTo>
                  <a:lnTo>
                    <a:pt x="136" y="18"/>
                  </a:lnTo>
                  <a:lnTo>
                    <a:pt x="136" y="18"/>
                  </a:lnTo>
                  <a:lnTo>
                    <a:pt x="137" y="19"/>
                  </a:lnTo>
                  <a:lnTo>
                    <a:pt x="137" y="19"/>
                  </a:lnTo>
                  <a:lnTo>
                    <a:pt x="137" y="19"/>
                  </a:lnTo>
                  <a:lnTo>
                    <a:pt x="137" y="20"/>
                  </a:lnTo>
                  <a:lnTo>
                    <a:pt x="138" y="21"/>
                  </a:lnTo>
                  <a:lnTo>
                    <a:pt x="138" y="22"/>
                  </a:lnTo>
                  <a:lnTo>
                    <a:pt x="138" y="22"/>
                  </a:lnTo>
                  <a:lnTo>
                    <a:pt x="138" y="23"/>
                  </a:lnTo>
                  <a:lnTo>
                    <a:pt x="139" y="23"/>
                  </a:lnTo>
                  <a:lnTo>
                    <a:pt x="139" y="23"/>
                  </a:lnTo>
                  <a:lnTo>
                    <a:pt x="140" y="23"/>
                  </a:lnTo>
                  <a:lnTo>
                    <a:pt x="144" y="23"/>
                  </a:lnTo>
                  <a:lnTo>
                    <a:pt x="147" y="23"/>
                  </a:lnTo>
                  <a:lnTo>
                    <a:pt x="149" y="23"/>
                  </a:lnTo>
                  <a:lnTo>
                    <a:pt x="151" y="23"/>
                  </a:lnTo>
                  <a:lnTo>
                    <a:pt x="153" y="23"/>
                  </a:lnTo>
                  <a:lnTo>
                    <a:pt x="155" y="23"/>
                  </a:lnTo>
                  <a:lnTo>
                    <a:pt x="156" y="23"/>
                  </a:lnTo>
                  <a:lnTo>
                    <a:pt x="158" y="22"/>
                  </a:lnTo>
                  <a:lnTo>
                    <a:pt x="159" y="22"/>
                  </a:lnTo>
                  <a:lnTo>
                    <a:pt x="160" y="21"/>
                  </a:lnTo>
                  <a:lnTo>
                    <a:pt x="162" y="20"/>
                  </a:lnTo>
                  <a:lnTo>
                    <a:pt x="163" y="20"/>
                  </a:lnTo>
                  <a:lnTo>
                    <a:pt x="164" y="19"/>
                  </a:lnTo>
                  <a:lnTo>
                    <a:pt x="165" y="18"/>
                  </a:lnTo>
                  <a:lnTo>
                    <a:pt x="165" y="16"/>
                  </a:lnTo>
                  <a:lnTo>
                    <a:pt x="165" y="14"/>
                  </a:lnTo>
                  <a:lnTo>
                    <a:pt x="166" y="12"/>
                  </a:lnTo>
                  <a:lnTo>
                    <a:pt x="166" y="10"/>
                  </a:lnTo>
                  <a:lnTo>
                    <a:pt x="166" y="8"/>
                  </a:lnTo>
                  <a:lnTo>
                    <a:pt x="167" y="6"/>
                  </a:lnTo>
                  <a:lnTo>
                    <a:pt x="167" y="5"/>
                  </a:lnTo>
                  <a:lnTo>
                    <a:pt x="168" y="3"/>
                  </a:lnTo>
                  <a:lnTo>
                    <a:pt x="170" y="3"/>
                  </a:lnTo>
                  <a:lnTo>
                    <a:pt x="171" y="3"/>
                  </a:lnTo>
                  <a:lnTo>
                    <a:pt x="173" y="3"/>
                  </a:lnTo>
                  <a:lnTo>
                    <a:pt x="175" y="3"/>
                  </a:lnTo>
                  <a:lnTo>
                    <a:pt x="178" y="7"/>
                  </a:lnTo>
                  <a:lnTo>
                    <a:pt x="181" y="10"/>
                  </a:lnTo>
                  <a:lnTo>
                    <a:pt x="182" y="12"/>
                  </a:lnTo>
                  <a:lnTo>
                    <a:pt x="184" y="14"/>
                  </a:lnTo>
                  <a:lnTo>
                    <a:pt x="185" y="16"/>
                  </a:lnTo>
                  <a:lnTo>
                    <a:pt x="187" y="18"/>
                  </a:lnTo>
                  <a:lnTo>
                    <a:pt x="187" y="20"/>
                  </a:lnTo>
                  <a:lnTo>
                    <a:pt x="187" y="23"/>
                  </a:lnTo>
                  <a:lnTo>
                    <a:pt x="187" y="25"/>
                  </a:lnTo>
                  <a:lnTo>
                    <a:pt x="188" y="27"/>
                  </a:lnTo>
                  <a:lnTo>
                    <a:pt x="188" y="29"/>
                  </a:lnTo>
                  <a:lnTo>
                    <a:pt x="189" y="31"/>
                  </a:lnTo>
                  <a:lnTo>
                    <a:pt x="190" y="35"/>
                  </a:lnTo>
                  <a:lnTo>
                    <a:pt x="192" y="39"/>
                  </a:lnTo>
                  <a:lnTo>
                    <a:pt x="192" y="41"/>
                  </a:lnTo>
                  <a:lnTo>
                    <a:pt x="193" y="43"/>
                  </a:lnTo>
                  <a:lnTo>
                    <a:pt x="193" y="45"/>
                  </a:lnTo>
                  <a:lnTo>
                    <a:pt x="194" y="47"/>
                  </a:lnTo>
                  <a:lnTo>
                    <a:pt x="194" y="49"/>
                  </a:lnTo>
                  <a:lnTo>
                    <a:pt x="195" y="51"/>
                  </a:lnTo>
                  <a:lnTo>
                    <a:pt x="194" y="52"/>
                  </a:lnTo>
                  <a:lnTo>
                    <a:pt x="193" y="53"/>
                  </a:lnTo>
                  <a:lnTo>
                    <a:pt x="192" y="53"/>
                  </a:lnTo>
                  <a:lnTo>
                    <a:pt x="192" y="54"/>
                  </a:lnTo>
                  <a:lnTo>
                    <a:pt x="191" y="55"/>
                  </a:lnTo>
                  <a:lnTo>
                    <a:pt x="191" y="56"/>
                  </a:lnTo>
                  <a:lnTo>
                    <a:pt x="190" y="58"/>
                  </a:lnTo>
                  <a:lnTo>
                    <a:pt x="189" y="59"/>
                  </a:lnTo>
                  <a:lnTo>
                    <a:pt x="189" y="60"/>
                  </a:lnTo>
                  <a:lnTo>
                    <a:pt x="188" y="61"/>
                  </a:lnTo>
                  <a:lnTo>
                    <a:pt x="187" y="61"/>
                  </a:lnTo>
                  <a:lnTo>
                    <a:pt x="186" y="62"/>
                  </a:lnTo>
                  <a:lnTo>
                    <a:pt x="185" y="62"/>
                  </a:lnTo>
                  <a:lnTo>
                    <a:pt x="185" y="63"/>
                  </a:lnTo>
                  <a:lnTo>
                    <a:pt x="184" y="63"/>
                  </a:lnTo>
                  <a:lnTo>
                    <a:pt x="184" y="63"/>
                  </a:lnTo>
                  <a:lnTo>
                    <a:pt x="183" y="63"/>
                  </a:lnTo>
                  <a:lnTo>
                    <a:pt x="183" y="64"/>
                  </a:lnTo>
                  <a:lnTo>
                    <a:pt x="183" y="65"/>
                  </a:lnTo>
                  <a:lnTo>
                    <a:pt x="183" y="66"/>
                  </a:lnTo>
                  <a:lnTo>
                    <a:pt x="183" y="66"/>
                  </a:lnTo>
                  <a:lnTo>
                    <a:pt x="182" y="68"/>
                  </a:lnTo>
                  <a:lnTo>
                    <a:pt x="182" y="69"/>
                  </a:lnTo>
                  <a:lnTo>
                    <a:pt x="182" y="71"/>
                  </a:lnTo>
                  <a:lnTo>
                    <a:pt x="181" y="72"/>
                  </a:lnTo>
                  <a:lnTo>
                    <a:pt x="181" y="72"/>
                  </a:lnTo>
                  <a:lnTo>
                    <a:pt x="181" y="73"/>
                  </a:lnTo>
                  <a:lnTo>
                    <a:pt x="181" y="74"/>
                  </a:lnTo>
                  <a:lnTo>
                    <a:pt x="181" y="75"/>
                  </a:lnTo>
                  <a:lnTo>
                    <a:pt x="181" y="76"/>
                  </a:lnTo>
                  <a:lnTo>
                    <a:pt x="182" y="77"/>
                  </a:lnTo>
                  <a:lnTo>
                    <a:pt x="183" y="77"/>
                  </a:lnTo>
                  <a:lnTo>
                    <a:pt x="183" y="78"/>
                  </a:lnTo>
                  <a:lnTo>
                    <a:pt x="184" y="78"/>
                  </a:lnTo>
                  <a:lnTo>
                    <a:pt x="184" y="78"/>
                  </a:lnTo>
                  <a:lnTo>
                    <a:pt x="185" y="78"/>
                  </a:lnTo>
                  <a:lnTo>
                    <a:pt x="185" y="79"/>
                  </a:lnTo>
                  <a:lnTo>
                    <a:pt x="185" y="79"/>
                  </a:lnTo>
                  <a:lnTo>
                    <a:pt x="186" y="79"/>
                  </a:lnTo>
                  <a:lnTo>
                    <a:pt x="187" y="79"/>
                  </a:lnTo>
                  <a:lnTo>
                    <a:pt x="187" y="79"/>
                  </a:lnTo>
                  <a:lnTo>
                    <a:pt x="188" y="78"/>
                  </a:lnTo>
                  <a:lnTo>
                    <a:pt x="188" y="78"/>
                  </a:lnTo>
                  <a:lnTo>
                    <a:pt x="189" y="78"/>
                  </a:lnTo>
                  <a:lnTo>
                    <a:pt x="190" y="78"/>
                  </a:lnTo>
                  <a:lnTo>
                    <a:pt x="191" y="78"/>
                  </a:lnTo>
                  <a:lnTo>
                    <a:pt x="191" y="78"/>
                  </a:lnTo>
                  <a:lnTo>
                    <a:pt x="192" y="79"/>
                  </a:lnTo>
                  <a:lnTo>
                    <a:pt x="192" y="80"/>
                  </a:lnTo>
                  <a:lnTo>
                    <a:pt x="192" y="81"/>
                  </a:lnTo>
                  <a:lnTo>
                    <a:pt x="192" y="82"/>
                  </a:lnTo>
                  <a:lnTo>
                    <a:pt x="192" y="83"/>
                  </a:lnTo>
                  <a:lnTo>
                    <a:pt x="193" y="84"/>
                  </a:lnTo>
                  <a:lnTo>
                    <a:pt x="193" y="84"/>
                  </a:lnTo>
                  <a:lnTo>
                    <a:pt x="194" y="85"/>
                  </a:lnTo>
                  <a:lnTo>
                    <a:pt x="195" y="86"/>
                  </a:lnTo>
                  <a:lnTo>
                    <a:pt x="196" y="87"/>
                  </a:lnTo>
                  <a:lnTo>
                    <a:pt x="197" y="88"/>
                  </a:lnTo>
                  <a:lnTo>
                    <a:pt x="198" y="89"/>
                  </a:lnTo>
                  <a:lnTo>
                    <a:pt x="200" y="90"/>
                  </a:lnTo>
                  <a:lnTo>
                    <a:pt x="201" y="91"/>
                  </a:lnTo>
                  <a:lnTo>
                    <a:pt x="204" y="92"/>
                  </a:lnTo>
                  <a:lnTo>
                    <a:pt x="206" y="93"/>
                  </a:lnTo>
                  <a:lnTo>
                    <a:pt x="207" y="94"/>
                  </a:lnTo>
                  <a:lnTo>
                    <a:pt x="209" y="95"/>
                  </a:lnTo>
                  <a:lnTo>
                    <a:pt x="210" y="96"/>
                  </a:lnTo>
                  <a:lnTo>
                    <a:pt x="210" y="98"/>
                  </a:lnTo>
                  <a:lnTo>
                    <a:pt x="210" y="99"/>
                  </a:lnTo>
                  <a:lnTo>
                    <a:pt x="210" y="100"/>
                  </a:lnTo>
                  <a:lnTo>
                    <a:pt x="210" y="101"/>
                  </a:lnTo>
                  <a:lnTo>
                    <a:pt x="210" y="102"/>
                  </a:lnTo>
                  <a:lnTo>
                    <a:pt x="211" y="103"/>
                  </a:lnTo>
                  <a:lnTo>
                    <a:pt x="211" y="104"/>
                  </a:lnTo>
                  <a:lnTo>
                    <a:pt x="211" y="105"/>
                  </a:lnTo>
                  <a:lnTo>
                    <a:pt x="212" y="105"/>
                  </a:lnTo>
                  <a:lnTo>
                    <a:pt x="212" y="105"/>
                  </a:lnTo>
                  <a:lnTo>
                    <a:pt x="213" y="105"/>
                  </a:lnTo>
                  <a:lnTo>
                    <a:pt x="213" y="105"/>
                  </a:lnTo>
                  <a:lnTo>
                    <a:pt x="213" y="105"/>
                  </a:lnTo>
                  <a:lnTo>
                    <a:pt x="214" y="106"/>
                  </a:lnTo>
                  <a:lnTo>
                    <a:pt x="214" y="106"/>
                  </a:lnTo>
                  <a:lnTo>
                    <a:pt x="214" y="107"/>
                  </a:lnTo>
                  <a:lnTo>
                    <a:pt x="214" y="107"/>
                  </a:lnTo>
                  <a:lnTo>
                    <a:pt x="214" y="108"/>
                  </a:lnTo>
                  <a:lnTo>
                    <a:pt x="215" y="110"/>
                  </a:lnTo>
                  <a:lnTo>
                    <a:pt x="215" y="111"/>
                  </a:lnTo>
                  <a:lnTo>
                    <a:pt x="215" y="112"/>
                  </a:lnTo>
                  <a:lnTo>
                    <a:pt x="215" y="112"/>
                  </a:lnTo>
                  <a:lnTo>
                    <a:pt x="215" y="113"/>
                  </a:lnTo>
                  <a:lnTo>
                    <a:pt x="216" y="114"/>
                  </a:lnTo>
                  <a:lnTo>
                    <a:pt x="216" y="114"/>
                  </a:lnTo>
                  <a:lnTo>
                    <a:pt x="216" y="115"/>
                  </a:lnTo>
                  <a:lnTo>
                    <a:pt x="216" y="116"/>
                  </a:lnTo>
                  <a:lnTo>
                    <a:pt x="216" y="117"/>
                  </a:lnTo>
                  <a:lnTo>
                    <a:pt x="215" y="118"/>
                  </a:lnTo>
                  <a:lnTo>
                    <a:pt x="215" y="120"/>
                  </a:lnTo>
                  <a:lnTo>
                    <a:pt x="214" y="121"/>
                  </a:lnTo>
                  <a:lnTo>
                    <a:pt x="213" y="122"/>
                  </a:lnTo>
                  <a:lnTo>
                    <a:pt x="213" y="123"/>
                  </a:lnTo>
                  <a:lnTo>
                    <a:pt x="212" y="123"/>
                  </a:lnTo>
                  <a:lnTo>
                    <a:pt x="211" y="124"/>
                  </a:lnTo>
                  <a:lnTo>
                    <a:pt x="210" y="125"/>
                  </a:lnTo>
                  <a:lnTo>
                    <a:pt x="208" y="126"/>
                  </a:lnTo>
                  <a:lnTo>
                    <a:pt x="206" y="128"/>
                  </a:lnTo>
                  <a:lnTo>
                    <a:pt x="204" y="129"/>
                  </a:lnTo>
                  <a:lnTo>
                    <a:pt x="202" y="130"/>
                  </a:lnTo>
                  <a:lnTo>
                    <a:pt x="200" y="131"/>
                  </a:lnTo>
                  <a:lnTo>
                    <a:pt x="198" y="133"/>
                  </a:lnTo>
                  <a:lnTo>
                    <a:pt x="196" y="134"/>
                  </a:lnTo>
                  <a:lnTo>
                    <a:pt x="195" y="135"/>
                  </a:lnTo>
                  <a:lnTo>
                    <a:pt x="194" y="136"/>
                  </a:lnTo>
                  <a:lnTo>
                    <a:pt x="193" y="136"/>
                  </a:lnTo>
                  <a:lnTo>
                    <a:pt x="192" y="137"/>
                  </a:lnTo>
                  <a:lnTo>
                    <a:pt x="192" y="138"/>
                  </a:lnTo>
                  <a:lnTo>
                    <a:pt x="191" y="139"/>
                  </a:lnTo>
                  <a:lnTo>
                    <a:pt x="190" y="140"/>
                  </a:lnTo>
                  <a:lnTo>
                    <a:pt x="190" y="141"/>
                  </a:lnTo>
                  <a:lnTo>
                    <a:pt x="189" y="141"/>
                  </a:lnTo>
                  <a:lnTo>
                    <a:pt x="188" y="141"/>
                  </a:lnTo>
                  <a:lnTo>
                    <a:pt x="187" y="141"/>
                  </a:lnTo>
                  <a:lnTo>
                    <a:pt x="187" y="141"/>
                  </a:lnTo>
                  <a:lnTo>
                    <a:pt x="185" y="141"/>
                  </a:lnTo>
                  <a:lnTo>
                    <a:pt x="184" y="140"/>
                  </a:lnTo>
                  <a:lnTo>
                    <a:pt x="183" y="139"/>
                  </a:lnTo>
                  <a:lnTo>
                    <a:pt x="182" y="139"/>
                  </a:lnTo>
                  <a:lnTo>
                    <a:pt x="181" y="138"/>
                  </a:lnTo>
                  <a:lnTo>
                    <a:pt x="180" y="137"/>
                  </a:lnTo>
                  <a:lnTo>
                    <a:pt x="179" y="136"/>
                  </a:lnTo>
                  <a:lnTo>
                    <a:pt x="179" y="135"/>
                  </a:lnTo>
                  <a:lnTo>
                    <a:pt x="177" y="133"/>
                  </a:lnTo>
                  <a:lnTo>
                    <a:pt x="176" y="131"/>
                  </a:lnTo>
                  <a:lnTo>
                    <a:pt x="174" y="129"/>
                  </a:lnTo>
                  <a:lnTo>
                    <a:pt x="173" y="127"/>
                  </a:lnTo>
                  <a:lnTo>
                    <a:pt x="171" y="125"/>
                  </a:lnTo>
                  <a:lnTo>
                    <a:pt x="170" y="123"/>
                  </a:lnTo>
                  <a:lnTo>
                    <a:pt x="169" y="122"/>
                  </a:lnTo>
                  <a:lnTo>
                    <a:pt x="168" y="121"/>
                  </a:lnTo>
                  <a:lnTo>
                    <a:pt x="167" y="121"/>
                  </a:lnTo>
                  <a:lnTo>
                    <a:pt x="167" y="120"/>
                  </a:lnTo>
                  <a:lnTo>
                    <a:pt x="166" y="119"/>
                  </a:lnTo>
                  <a:lnTo>
                    <a:pt x="165" y="119"/>
                  </a:lnTo>
                  <a:lnTo>
                    <a:pt x="163" y="118"/>
                  </a:lnTo>
                  <a:lnTo>
                    <a:pt x="162" y="117"/>
                  </a:lnTo>
                  <a:lnTo>
                    <a:pt x="161" y="117"/>
                  </a:lnTo>
                  <a:lnTo>
                    <a:pt x="159" y="117"/>
                  </a:lnTo>
                  <a:lnTo>
                    <a:pt x="158" y="116"/>
                  </a:lnTo>
                  <a:lnTo>
                    <a:pt x="157" y="116"/>
                  </a:lnTo>
                  <a:lnTo>
                    <a:pt x="156" y="117"/>
                  </a:lnTo>
                  <a:lnTo>
                    <a:pt x="155" y="117"/>
                  </a:lnTo>
                  <a:lnTo>
                    <a:pt x="154" y="118"/>
                  </a:lnTo>
                  <a:lnTo>
                    <a:pt x="153" y="119"/>
                  </a:lnTo>
                  <a:lnTo>
                    <a:pt x="152" y="120"/>
                  </a:lnTo>
                  <a:lnTo>
                    <a:pt x="151" y="121"/>
                  </a:lnTo>
                  <a:lnTo>
                    <a:pt x="150" y="123"/>
                  </a:lnTo>
                  <a:lnTo>
                    <a:pt x="149" y="124"/>
                  </a:lnTo>
                  <a:lnTo>
                    <a:pt x="149" y="125"/>
                  </a:lnTo>
                  <a:lnTo>
                    <a:pt x="148" y="128"/>
                  </a:lnTo>
                  <a:lnTo>
                    <a:pt x="147" y="130"/>
                  </a:lnTo>
                  <a:lnTo>
                    <a:pt x="146" y="131"/>
                  </a:lnTo>
                  <a:lnTo>
                    <a:pt x="146" y="133"/>
                  </a:lnTo>
                  <a:lnTo>
                    <a:pt x="145" y="134"/>
                  </a:lnTo>
                  <a:lnTo>
                    <a:pt x="144" y="135"/>
                  </a:lnTo>
                  <a:lnTo>
                    <a:pt x="143" y="136"/>
                  </a:lnTo>
                  <a:lnTo>
                    <a:pt x="142" y="136"/>
                  </a:lnTo>
                  <a:lnTo>
                    <a:pt x="142" y="136"/>
                  </a:lnTo>
                  <a:lnTo>
                    <a:pt x="141" y="136"/>
                  </a:lnTo>
                  <a:lnTo>
                    <a:pt x="140" y="136"/>
                  </a:lnTo>
                  <a:lnTo>
                    <a:pt x="140" y="136"/>
                  </a:lnTo>
                  <a:lnTo>
                    <a:pt x="139" y="136"/>
                  </a:lnTo>
                  <a:lnTo>
                    <a:pt x="138" y="135"/>
                  </a:lnTo>
                  <a:lnTo>
                    <a:pt x="137" y="135"/>
                  </a:lnTo>
                  <a:lnTo>
                    <a:pt x="137" y="135"/>
                  </a:lnTo>
                  <a:lnTo>
                    <a:pt x="136" y="134"/>
                  </a:lnTo>
                  <a:lnTo>
                    <a:pt x="136" y="134"/>
                  </a:lnTo>
                  <a:lnTo>
                    <a:pt x="135" y="134"/>
                  </a:lnTo>
                  <a:lnTo>
                    <a:pt x="134" y="134"/>
                  </a:lnTo>
                  <a:lnTo>
                    <a:pt x="133" y="135"/>
                  </a:lnTo>
                  <a:lnTo>
                    <a:pt x="133" y="136"/>
                  </a:lnTo>
                  <a:lnTo>
                    <a:pt x="132" y="137"/>
                  </a:lnTo>
                  <a:lnTo>
                    <a:pt x="131" y="138"/>
                  </a:lnTo>
                  <a:lnTo>
                    <a:pt x="131" y="139"/>
                  </a:lnTo>
                  <a:lnTo>
                    <a:pt x="129" y="141"/>
                  </a:lnTo>
                  <a:lnTo>
                    <a:pt x="127" y="142"/>
                  </a:lnTo>
                  <a:lnTo>
                    <a:pt x="125" y="144"/>
                  </a:lnTo>
                  <a:lnTo>
                    <a:pt x="123" y="145"/>
                  </a:lnTo>
                  <a:lnTo>
                    <a:pt x="122" y="147"/>
                  </a:lnTo>
                  <a:lnTo>
                    <a:pt x="120" y="148"/>
                  </a:lnTo>
                  <a:lnTo>
                    <a:pt x="118" y="150"/>
                  </a:lnTo>
                  <a:lnTo>
                    <a:pt x="116" y="151"/>
                  </a:lnTo>
                  <a:lnTo>
                    <a:pt x="114" y="153"/>
                  </a:lnTo>
                  <a:lnTo>
                    <a:pt x="112" y="155"/>
                  </a:lnTo>
                  <a:lnTo>
                    <a:pt x="111" y="157"/>
                  </a:lnTo>
                  <a:lnTo>
                    <a:pt x="110" y="157"/>
                  </a:lnTo>
                  <a:lnTo>
                    <a:pt x="109" y="158"/>
                  </a:lnTo>
                  <a:lnTo>
                    <a:pt x="108" y="159"/>
                  </a:lnTo>
                  <a:lnTo>
                    <a:pt x="108" y="161"/>
                  </a:lnTo>
                  <a:lnTo>
                    <a:pt x="107" y="162"/>
                  </a:lnTo>
                  <a:lnTo>
                    <a:pt x="106" y="163"/>
                  </a:lnTo>
                  <a:lnTo>
                    <a:pt x="105" y="163"/>
                  </a:lnTo>
                  <a:lnTo>
                    <a:pt x="104" y="163"/>
                  </a:lnTo>
                  <a:lnTo>
                    <a:pt x="102" y="164"/>
                  </a:lnTo>
                  <a:lnTo>
                    <a:pt x="101" y="165"/>
                  </a:lnTo>
                  <a:lnTo>
                    <a:pt x="100" y="165"/>
                  </a:lnTo>
                  <a:lnTo>
                    <a:pt x="99" y="166"/>
                  </a:lnTo>
                  <a:lnTo>
                    <a:pt x="98" y="167"/>
                  </a:lnTo>
                  <a:lnTo>
                    <a:pt x="97" y="167"/>
                  </a:lnTo>
                  <a:lnTo>
                    <a:pt x="96" y="168"/>
                  </a:lnTo>
                  <a:lnTo>
                    <a:pt x="95" y="169"/>
                  </a:lnTo>
                  <a:lnTo>
                    <a:pt x="94" y="170"/>
                  </a:lnTo>
                  <a:lnTo>
                    <a:pt x="94" y="171"/>
                  </a:lnTo>
                  <a:lnTo>
                    <a:pt x="93" y="172"/>
                  </a:lnTo>
                  <a:lnTo>
                    <a:pt x="93" y="174"/>
                  </a:lnTo>
                  <a:lnTo>
                    <a:pt x="92" y="175"/>
                  </a:lnTo>
                  <a:lnTo>
                    <a:pt x="92" y="176"/>
                  </a:lnTo>
                  <a:lnTo>
                    <a:pt x="91" y="176"/>
                  </a:lnTo>
                  <a:lnTo>
                    <a:pt x="91" y="176"/>
                  </a:lnTo>
                  <a:lnTo>
                    <a:pt x="90" y="176"/>
                  </a:lnTo>
                  <a:lnTo>
                    <a:pt x="90" y="176"/>
                  </a:lnTo>
                  <a:lnTo>
                    <a:pt x="89" y="176"/>
                  </a:lnTo>
                  <a:lnTo>
                    <a:pt x="87" y="176"/>
                  </a:lnTo>
                  <a:lnTo>
                    <a:pt x="86" y="176"/>
                  </a:lnTo>
                  <a:lnTo>
                    <a:pt x="85" y="176"/>
                  </a:lnTo>
                  <a:lnTo>
                    <a:pt x="82" y="176"/>
                  </a:lnTo>
                  <a:lnTo>
                    <a:pt x="80" y="176"/>
                  </a:lnTo>
                  <a:lnTo>
                    <a:pt x="77" y="177"/>
                  </a:lnTo>
                  <a:lnTo>
                    <a:pt x="74" y="177"/>
                  </a:lnTo>
                  <a:lnTo>
                    <a:pt x="71" y="178"/>
                  </a:lnTo>
                  <a:lnTo>
                    <a:pt x="69" y="179"/>
                  </a:lnTo>
                  <a:lnTo>
                    <a:pt x="63" y="180"/>
                  </a:lnTo>
                  <a:lnTo>
                    <a:pt x="60" y="181"/>
                  </a:lnTo>
                  <a:lnTo>
                    <a:pt x="57" y="181"/>
                  </a:lnTo>
                  <a:lnTo>
                    <a:pt x="54" y="182"/>
                  </a:lnTo>
                  <a:lnTo>
                    <a:pt x="51" y="182"/>
                  </a:lnTo>
                  <a:lnTo>
                    <a:pt x="48" y="183"/>
                  </a:lnTo>
                  <a:lnTo>
                    <a:pt x="45" y="183"/>
                  </a:lnTo>
                  <a:lnTo>
                    <a:pt x="44" y="182"/>
                  </a:lnTo>
                  <a:lnTo>
                    <a:pt x="44" y="181"/>
                  </a:lnTo>
                  <a:lnTo>
                    <a:pt x="44" y="179"/>
                  </a:lnTo>
                  <a:lnTo>
                    <a:pt x="43" y="178"/>
                  </a:lnTo>
                  <a:lnTo>
                    <a:pt x="43" y="176"/>
                  </a:lnTo>
                  <a:lnTo>
                    <a:pt x="43" y="175"/>
                  </a:lnTo>
                  <a:lnTo>
                    <a:pt x="43" y="173"/>
                  </a:lnTo>
                  <a:lnTo>
                    <a:pt x="43" y="171"/>
                  </a:lnTo>
                  <a:lnTo>
                    <a:pt x="43" y="168"/>
                  </a:lnTo>
                  <a:lnTo>
                    <a:pt x="43" y="164"/>
                  </a:lnTo>
                  <a:lnTo>
                    <a:pt x="43" y="163"/>
                  </a:lnTo>
                  <a:lnTo>
                    <a:pt x="43" y="161"/>
                  </a:lnTo>
                  <a:lnTo>
                    <a:pt x="43" y="159"/>
                  </a:lnTo>
                  <a:lnTo>
                    <a:pt x="43" y="158"/>
                  </a:lnTo>
                  <a:lnTo>
                    <a:pt x="44" y="157"/>
                  </a:lnTo>
                  <a:lnTo>
                    <a:pt x="44" y="157"/>
                  </a:lnTo>
                  <a:lnTo>
                    <a:pt x="45" y="156"/>
                  </a:lnTo>
                  <a:lnTo>
                    <a:pt x="45" y="155"/>
                  </a:lnTo>
                  <a:lnTo>
                    <a:pt x="45" y="154"/>
                  </a:lnTo>
                  <a:lnTo>
                    <a:pt x="45" y="153"/>
                  </a:lnTo>
                  <a:lnTo>
                    <a:pt x="45" y="152"/>
                  </a:lnTo>
                  <a:lnTo>
                    <a:pt x="45" y="151"/>
                  </a:lnTo>
                  <a:lnTo>
                    <a:pt x="45" y="149"/>
                  </a:lnTo>
                  <a:lnTo>
                    <a:pt x="45" y="147"/>
                  </a:lnTo>
                  <a:lnTo>
                    <a:pt x="45" y="145"/>
                  </a:lnTo>
                  <a:lnTo>
                    <a:pt x="45" y="144"/>
                  </a:lnTo>
                  <a:lnTo>
                    <a:pt x="45" y="143"/>
                  </a:lnTo>
                  <a:lnTo>
                    <a:pt x="44" y="142"/>
                  </a:lnTo>
                  <a:lnTo>
                    <a:pt x="43" y="140"/>
                  </a:lnTo>
                  <a:lnTo>
                    <a:pt x="42" y="139"/>
                  </a:lnTo>
                  <a:lnTo>
                    <a:pt x="41" y="138"/>
                  </a:lnTo>
                  <a:lnTo>
                    <a:pt x="39" y="137"/>
                  </a:lnTo>
                  <a:lnTo>
                    <a:pt x="38" y="136"/>
                  </a:lnTo>
                  <a:lnTo>
                    <a:pt x="36" y="135"/>
                  </a:lnTo>
                  <a:lnTo>
                    <a:pt x="35" y="135"/>
                  </a:lnTo>
                  <a:lnTo>
                    <a:pt x="32" y="133"/>
                  </a:lnTo>
                  <a:lnTo>
                    <a:pt x="30" y="132"/>
                  </a:lnTo>
                  <a:lnTo>
                    <a:pt x="29" y="132"/>
                  </a:lnTo>
                  <a:lnTo>
                    <a:pt x="27" y="131"/>
                  </a:lnTo>
                  <a:lnTo>
                    <a:pt x="26" y="130"/>
                  </a:lnTo>
                  <a:lnTo>
                    <a:pt x="25" y="129"/>
                  </a:lnTo>
                  <a:lnTo>
                    <a:pt x="23" y="128"/>
                  </a:lnTo>
                  <a:lnTo>
                    <a:pt x="23" y="125"/>
                  </a:lnTo>
                  <a:lnTo>
                    <a:pt x="23" y="123"/>
                  </a:lnTo>
                  <a:lnTo>
                    <a:pt x="23" y="120"/>
                  </a:lnTo>
                  <a:lnTo>
                    <a:pt x="23" y="118"/>
                  </a:lnTo>
                  <a:lnTo>
                    <a:pt x="23" y="116"/>
                  </a:lnTo>
                  <a:lnTo>
                    <a:pt x="23" y="114"/>
                  </a:lnTo>
                  <a:lnTo>
                    <a:pt x="23" y="112"/>
                  </a:lnTo>
                  <a:lnTo>
                    <a:pt x="23" y="110"/>
                  </a:lnTo>
                  <a:lnTo>
                    <a:pt x="23" y="109"/>
                  </a:lnTo>
                  <a:lnTo>
                    <a:pt x="23" y="107"/>
                  </a:lnTo>
                  <a:lnTo>
                    <a:pt x="24" y="106"/>
                  </a:lnTo>
                  <a:lnTo>
                    <a:pt x="24" y="104"/>
                  </a:lnTo>
                  <a:lnTo>
                    <a:pt x="25" y="103"/>
                  </a:lnTo>
                  <a:lnTo>
                    <a:pt x="25" y="102"/>
                  </a:lnTo>
                  <a:lnTo>
                    <a:pt x="25" y="102"/>
                  </a:lnTo>
                  <a:lnTo>
                    <a:pt x="26" y="101"/>
                  </a:lnTo>
                  <a:lnTo>
                    <a:pt x="26" y="100"/>
                  </a:lnTo>
                  <a:lnTo>
                    <a:pt x="27" y="99"/>
                  </a:lnTo>
                  <a:lnTo>
                    <a:pt x="28" y="99"/>
                  </a:lnTo>
                  <a:lnTo>
                    <a:pt x="28" y="98"/>
                  </a:lnTo>
                  <a:lnTo>
                    <a:pt x="29" y="97"/>
                  </a:lnTo>
                  <a:lnTo>
                    <a:pt x="29" y="97"/>
                  </a:lnTo>
                  <a:lnTo>
                    <a:pt x="29" y="96"/>
                  </a:lnTo>
                  <a:lnTo>
                    <a:pt x="29" y="96"/>
                  </a:lnTo>
                  <a:lnTo>
                    <a:pt x="29" y="95"/>
                  </a:lnTo>
                  <a:lnTo>
                    <a:pt x="28" y="95"/>
                  </a:lnTo>
                  <a:lnTo>
                    <a:pt x="28" y="94"/>
                  </a:lnTo>
                  <a:lnTo>
                    <a:pt x="28" y="94"/>
                  </a:lnTo>
                  <a:lnTo>
                    <a:pt x="27" y="93"/>
                  </a:lnTo>
                  <a:lnTo>
                    <a:pt x="26" y="92"/>
                  </a:lnTo>
                  <a:lnTo>
                    <a:pt x="26" y="91"/>
                  </a:lnTo>
                  <a:lnTo>
                    <a:pt x="25" y="91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88"/>
                  </a:lnTo>
                  <a:lnTo>
                    <a:pt x="25" y="87"/>
                  </a:lnTo>
                  <a:lnTo>
                    <a:pt x="24" y="85"/>
                  </a:lnTo>
                  <a:lnTo>
                    <a:pt x="24" y="84"/>
                  </a:lnTo>
                  <a:lnTo>
                    <a:pt x="24" y="83"/>
                  </a:lnTo>
                  <a:lnTo>
                    <a:pt x="25" y="82"/>
                  </a:lnTo>
                  <a:lnTo>
                    <a:pt x="25" y="80"/>
                  </a:lnTo>
                  <a:lnTo>
                    <a:pt x="25" y="79"/>
                  </a:lnTo>
                  <a:lnTo>
                    <a:pt x="25" y="78"/>
                  </a:lnTo>
                  <a:lnTo>
                    <a:pt x="26" y="76"/>
                  </a:lnTo>
                  <a:lnTo>
                    <a:pt x="26" y="74"/>
                  </a:lnTo>
                  <a:lnTo>
                    <a:pt x="27" y="72"/>
                  </a:lnTo>
                  <a:lnTo>
                    <a:pt x="28" y="70"/>
                  </a:lnTo>
                  <a:lnTo>
                    <a:pt x="28" y="69"/>
                  </a:lnTo>
                  <a:lnTo>
                    <a:pt x="28" y="69"/>
                  </a:lnTo>
                  <a:lnTo>
                    <a:pt x="27" y="68"/>
                  </a:lnTo>
                  <a:lnTo>
                    <a:pt x="27" y="68"/>
                  </a:lnTo>
                  <a:lnTo>
                    <a:pt x="26" y="67"/>
                  </a:lnTo>
                  <a:lnTo>
                    <a:pt x="25" y="67"/>
                  </a:lnTo>
                  <a:lnTo>
                    <a:pt x="24" y="66"/>
                  </a:lnTo>
                  <a:lnTo>
                    <a:pt x="23" y="66"/>
                  </a:lnTo>
                  <a:lnTo>
                    <a:pt x="22" y="65"/>
                  </a:lnTo>
                  <a:lnTo>
                    <a:pt x="21" y="65"/>
                  </a:lnTo>
                  <a:lnTo>
                    <a:pt x="20" y="65"/>
                  </a:lnTo>
                  <a:lnTo>
                    <a:pt x="19" y="65"/>
                  </a:lnTo>
                  <a:lnTo>
                    <a:pt x="18" y="65"/>
                  </a:lnTo>
                  <a:lnTo>
                    <a:pt x="17" y="65"/>
                  </a:lnTo>
                  <a:lnTo>
                    <a:pt x="16" y="65"/>
                  </a:lnTo>
                  <a:lnTo>
                    <a:pt x="16" y="66"/>
                  </a:lnTo>
                  <a:lnTo>
                    <a:pt x="15" y="66"/>
                  </a:lnTo>
                  <a:lnTo>
                    <a:pt x="15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13" y="65"/>
                  </a:lnTo>
                  <a:lnTo>
                    <a:pt x="12" y="64"/>
                  </a:lnTo>
                  <a:lnTo>
                    <a:pt x="11" y="63"/>
                  </a:lnTo>
                  <a:lnTo>
                    <a:pt x="10" y="62"/>
                  </a:lnTo>
                  <a:lnTo>
                    <a:pt x="10" y="60"/>
                  </a:lnTo>
                  <a:lnTo>
                    <a:pt x="8" y="58"/>
                  </a:lnTo>
                  <a:lnTo>
                    <a:pt x="8" y="57"/>
                  </a:lnTo>
                  <a:lnTo>
                    <a:pt x="7" y="55"/>
                  </a:lnTo>
                  <a:lnTo>
                    <a:pt x="6" y="54"/>
                  </a:lnTo>
                  <a:lnTo>
                    <a:pt x="5" y="54"/>
                  </a:lnTo>
                  <a:lnTo>
                    <a:pt x="4" y="53"/>
                  </a:lnTo>
                  <a:lnTo>
                    <a:pt x="4" y="52"/>
                  </a:lnTo>
                  <a:lnTo>
                    <a:pt x="3" y="52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1" y="51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49"/>
                  </a:lnTo>
                  <a:lnTo>
                    <a:pt x="0" y="48"/>
                  </a:lnTo>
                  <a:lnTo>
                    <a:pt x="1" y="47"/>
                  </a:lnTo>
                  <a:lnTo>
                    <a:pt x="1" y="46"/>
                  </a:lnTo>
                  <a:lnTo>
                    <a:pt x="2" y="46"/>
                  </a:lnTo>
                  <a:lnTo>
                    <a:pt x="2" y="45"/>
                  </a:lnTo>
                  <a:lnTo>
                    <a:pt x="3" y="43"/>
                  </a:lnTo>
                  <a:lnTo>
                    <a:pt x="4" y="42"/>
                  </a:lnTo>
                  <a:lnTo>
                    <a:pt x="5" y="41"/>
                  </a:lnTo>
                  <a:lnTo>
                    <a:pt x="5" y="40"/>
                  </a:lnTo>
                  <a:lnTo>
                    <a:pt x="6" y="40"/>
                  </a:lnTo>
                  <a:lnTo>
                    <a:pt x="6" y="39"/>
                  </a:lnTo>
                  <a:lnTo>
                    <a:pt x="7" y="38"/>
                  </a:lnTo>
                  <a:lnTo>
                    <a:pt x="10" y="38"/>
                  </a:lnTo>
                  <a:lnTo>
                    <a:pt x="12" y="38"/>
                  </a:lnTo>
                  <a:lnTo>
                    <a:pt x="15" y="38"/>
                  </a:lnTo>
                  <a:lnTo>
                    <a:pt x="18" y="38"/>
                  </a:lnTo>
                  <a:lnTo>
                    <a:pt x="19" y="37"/>
                  </a:lnTo>
                  <a:lnTo>
                    <a:pt x="20" y="36"/>
                  </a:lnTo>
                  <a:lnTo>
                    <a:pt x="21" y="35"/>
                  </a:lnTo>
                  <a:lnTo>
                    <a:pt x="22" y="33"/>
                  </a:lnTo>
                  <a:lnTo>
                    <a:pt x="23" y="31"/>
                  </a:lnTo>
                  <a:lnTo>
                    <a:pt x="25" y="28"/>
                  </a:lnTo>
                  <a:lnTo>
                    <a:pt x="25" y="27"/>
                  </a:lnTo>
                  <a:lnTo>
                    <a:pt x="25" y="26"/>
                  </a:lnTo>
                  <a:lnTo>
                    <a:pt x="25" y="25"/>
                  </a:lnTo>
                  <a:lnTo>
                    <a:pt x="25" y="24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1"/>
                  </a:lnTo>
                  <a:lnTo>
                    <a:pt x="24" y="21"/>
                  </a:lnTo>
                  <a:lnTo>
                    <a:pt x="24" y="20"/>
                  </a:lnTo>
                  <a:lnTo>
                    <a:pt x="24" y="19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5" y="17"/>
                  </a:lnTo>
                  <a:lnTo>
                    <a:pt x="25" y="16"/>
                  </a:lnTo>
                  <a:lnTo>
                    <a:pt x="25" y="16"/>
                  </a:lnTo>
                </a:path>
              </a:pathLst>
            </a:custGeom>
            <a:grpFill/>
            <a:ln w="3175" cap="flat" cmpd="sng">
              <a:solidFill>
                <a:schemeClr val="accent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algn="ctr" defTabSz="781394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800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46" name="Freeform 8"/>
            <p:cNvSpPr>
              <a:spLocks/>
            </p:cNvSpPr>
            <p:nvPr/>
          </p:nvSpPr>
          <p:spPr bwMode="auto">
            <a:xfrm>
              <a:off x="2507833" y="2776476"/>
              <a:ext cx="2272313" cy="1379333"/>
            </a:xfrm>
            <a:custGeom>
              <a:avLst/>
              <a:gdLst/>
              <a:ahLst/>
              <a:cxnLst>
                <a:cxn ang="0">
                  <a:pos x="218" y="2"/>
                </a:cxn>
                <a:cxn ang="0">
                  <a:pos x="219" y="9"/>
                </a:cxn>
                <a:cxn ang="0">
                  <a:pos x="232" y="15"/>
                </a:cxn>
                <a:cxn ang="0">
                  <a:pos x="242" y="23"/>
                </a:cxn>
                <a:cxn ang="0">
                  <a:pos x="241" y="28"/>
                </a:cxn>
                <a:cxn ang="0">
                  <a:pos x="244" y="29"/>
                </a:cxn>
                <a:cxn ang="0">
                  <a:pos x="250" y="22"/>
                </a:cxn>
                <a:cxn ang="0">
                  <a:pos x="264" y="20"/>
                </a:cxn>
                <a:cxn ang="0">
                  <a:pos x="271" y="9"/>
                </a:cxn>
                <a:cxn ang="0">
                  <a:pos x="282" y="6"/>
                </a:cxn>
                <a:cxn ang="0">
                  <a:pos x="293" y="17"/>
                </a:cxn>
                <a:cxn ang="0">
                  <a:pos x="291" y="27"/>
                </a:cxn>
                <a:cxn ang="0">
                  <a:pos x="285" y="35"/>
                </a:cxn>
                <a:cxn ang="0">
                  <a:pos x="286" y="40"/>
                </a:cxn>
                <a:cxn ang="0">
                  <a:pos x="290" y="50"/>
                </a:cxn>
                <a:cxn ang="0">
                  <a:pos x="292" y="64"/>
                </a:cxn>
                <a:cxn ang="0">
                  <a:pos x="295" y="70"/>
                </a:cxn>
                <a:cxn ang="0">
                  <a:pos x="290" y="79"/>
                </a:cxn>
                <a:cxn ang="0">
                  <a:pos x="293" y="84"/>
                </a:cxn>
                <a:cxn ang="0">
                  <a:pos x="298" y="92"/>
                </a:cxn>
                <a:cxn ang="0">
                  <a:pos x="293" y="96"/>
                </a:cxn>
                <a:cxn ang="0">
                  <a:pos x="291" y="110"/>
                </a:cxn>
                <a:cxn ang="0">
                  <a:pos x="296" y="115"/>
                </a:cxn>
                <a:cxn ang="0">
                  <a:pos x="303" y="114"/>
                </a:cxn>
                <a:cxn ang="0">
                  <a:pos x="304" y="120"/>
                </a:cxn>
                <a:cxn ang="0">
                  <a:pos x="299" y="129"/>
                </a:cxn>
                <a:cxn ang="0">
                  <a:pos x="256" y="134"/>
                </a:cxn>
                <a:cxn ang="0">
                  <a:pos x="237" y="146"/>
                </a:cxn>
                <a:cxn ang="0">
                  <a:pos x="229" y="159"/>
                </a:cxn>
                <a:cxn ang="0">
                  <a:pos x="193" y="169"/>
                </a:cxn>
                <a:cxn ang="0">
                  <a:pos x="131" y="172"/>
                </a:cxn>
                <a:cxn ang="0">
                  <a:pos x="123" y="169"/>
                </a:cxn>
                <a:cxn ang="0">
                  <a:pos x="92" y="169"/>
                </a:cxn>
                <a:cxn ang="0">
                  <a:pos x="73" y="168"/>
                </a:cxn>
                <a:cxn ang="0">
                  <a:pos x="46" y="165"/>
                </a:cxn>
                <a:cxn ang="0">
                  <a:pos x="20" y="148"/>
                </a:cxn>
                <a:cxn ang="0">
                  <a:pos x="4" y="142"/>
                </a:cxn>
                <a:cxn ang="0">
                  <a:pos x="3" y="130"/>
                </a:cxn>
                <a:cxn ang="0">
                  <a:pos x="20" y="119"/>
                </a:cxn>
                <a:cxn ang="0">
                  <a:pos x="26" y="109"/>
                </a:cxn>
                <a:cxn ang="0">
                  <a:pos x="24" y="101"/>
                </a:cxn>
                <a:cxn ang="0">
                  <a:pos x="30" y="94"/>
                </a:cxn>
                <a:cxn ang="0">
                  <a:pos x="42" y="81"/>
                </a:cxn>
                <a:cxn ang="0">
                  <a:pos x="55" y="82"/>
                </a:cxn>
                <a:cxn ang="0">
                  <a:pos x="70" y="72"/>
                </a:cxn>
                <a:cxn ang="0">
                  <a:pos x="73" y="66"/>
                </a:cxn>
                <a:cxn ang="0">
                  <a:pos x="81" y="56"/>
                </a:cxn>
                <a:cxn ang="0">
                  <a:pos x="99" y="37"/>
                </a:cxn>
                <a:cxn ang="0">
                  <a:pos x="103" y="29"/>
                </a:cxn>
                <a:cxn ang="0">
                  <a:pos x="107" y="24"/>
                </a:cxn>
                <a:cxn ang="0">
                  <a:pos x="115" y="21"/>
                </a:cxn>
                <a:cxn ang="0">
                  <a:pos x="123" y="27"/>
                </a:cxn>
                <a:cxn ang="0">
                  <a:pos x="128" y="29"/>
                </a:cxn>
                <a:cxn ang="0">
                  <a:pos x="133" y="35"/>
                </a:cxn>
                <a:cxn ang="0">
                  <a:pos x="148" y="37"/>
                </a:cxn>
                <a:cxn ang="0">
                  <a:pos x="157" y="29"/>
                </a:cxn>
                <a:cxn ang="0">
                  <a:pos x="164" y="22"/>
                </a:cxn>
                <a:cxn ang="0">
                  <a:pos x="171" y="20"/>
                </a:cxn>
                <a:cxn ang="0">
                  <a:pos x="174" y="27"/>
                </a:cxn>
                <a:cxn ang="0">
                  <a:pos x="182" y="26"/>
                </a:cxn>
                <a:cxn ang="0">
                  <a:pos x="186" y="20"/>
                </a:cxn>
                <a:cxn ang="0">
                  <a:pos x="192" y="15"/>
                </a:cxn>
                <a:cxn ang="0">
                  <a:pos x="204" y="6"/>
                </a:cxn>
              </a:cxnLst>
              <a:rect l="0" t="0" r="r" b="b"/>
              <a:pathLst>
                <a:path w="304" h="172">
                  <a:moveTo>
                    <a:pt x="215" y="0"/>
                  </a:moveTo>
                  <a:lnTo>
                    <a:pt x="215" y="0"/>
                  </a:lnTo>
                  <a:lnTo>
                    <a:pt x="215" y="0"/>
                  </a:lnTo>
                  <a:lnTo>
                    <a:pt x="215" y="0"/>
                  </a:lnTo>
                  <a:lnTo>
                    <a:pt x="216" y="0"/>
                  </a:lnTo>
                  <a:lnTo>
                    <a:pt x="216" y="0"/>
                  </a:lnTo>
                  <a:lnTo>
                    <a:pt x="216" y="0"/>
                  </a:lnTo>
                  <a:lnTo>
                    <a:pt x="217" y="1"/>
                  </a:lnTo>
                  <a:lnTo>
                    <a:pt x="217" y="2"/>
                  </a:lnTo>
                  <a:lnTo>
                    <a:pt x="218" y="2"/>
                  </a:lnTo>
                  <a:lnTo>
                    <a:pt x="218" y="3"/>
                  </a:lnTo>
                  <a:lnTo>
                    <a:pt x="218" y="4"/>
                  </a:lnTo>
                  <a:lnTo>
                    <a:pt x="219" y="4"/>
                  </a:lnTo>
                  <a:lnTo>
                    <a:pt x="219" y="5"/>
                  </a:lnTo>
                  <a:lnTo>
                    <a:pt x="219" y="6"/>
                  </a:lnTo>
                  <a:lnTo>
                    <a:pt x="219" y="6"/>
                  </a:lnTo>
                  <a:lnTo>
                    <a:pt x="219" y="7"/>
                  </a:lnTo>
                  <a:lnTo>
                    <a:pt x="219" y="8"/>
                  </a:lnTo>
                  <a:lnTo>
                    <a:pt x="219" y="9"/>
                  </a:lnTo>
                  <a:lnTo>
                    <a:pt x="219" y="9"/>
                  </a:lnTo>
                  <a:lnTo>
                    <a:pt x="219" y="10"/>
                  </a:lnTo>
                  <a:lnTo>
                    <a:pt x="218" y="11"/>
                  </a:lnTo>
                  <a:lnTo>
                    <a:pt x="218" y="12"/>
                  </a:lnTo>
                  <a:lnTo>
                    <a:pt x="220" y="12"/>
                  </a:lnTo>
                  <a:lnTo>
                    <a:pt x="221" y="13"/>
                  </a:lnTo>
                  <a:lnTo>
                    <a:pt x="223" y="13"/>
                  </a:lnTo>
                  <a:lnTo>
                    <a:pt x="224" y="13"/>
                  </a:lnTo>
                  <a:lnTo>
                    <a:pt x="227" y="14"/>
                  </a:lnTo>
                  <a:lnTo>
                    <a:pt x="231" y="15"/>
                  </a:lnTo>
                  <a:lnTo>
                    <a:pt x="232" y="15"/>
                  </a:lnTo>
                  <a:lnTo>
                    <a:pt x="234" y="16"/>
                  </a:lnTo>
                  <a:lnTo>
                    <a:pt x="235" y="17"/>
                  </a:lnTo>
                  <a:lnTo>
                    <a:pt x="237" y="17"/>
                  </a:lnTo>
                  <a:lnTo>
                    <a:pt x="238" y="18"/>
                  </a:lnTo>
                  <a:lnTo>
                    <a:pt x="239" y="19"/>
                  </a:lnTo>
                  <a:lnTo>
                    <a:pt x="240" y="20"/>
                  </a:lnTo>
                  <a:lnTo>
                    <a:pt x="241" y="21"/>
                  </a:lnTo>
                  <a:lnTo>
                    <a:pt x="241" y="21"/>
                  </a:lnTo>
                  <a:lnTo>
                    <a:pt x="242" y="22"/>
                  </a:lnTo>
                  <a:lnTo>
                    <a:pt x="242" y="23"/>
                  </a:lnTo>
                  <a:lnTo>
                    <a:pt x="242" y="24"/>
                  </a:lnTo>
                  <a:lnTo>
                    <a:pt x="242" y="25"/>
                  </a:lnTo>
                  <a:lnTo>
                    <a:pt x="242" y="25"/>
                  </a:lnTo>
                  <a:lnTo>
                    <a:pt x="241" y="26"/>
                  </a:lnTo>
                  <a:lnTo>
                    <a:pt x="241" y="26"/>
                  </a:lnTo>
                  <a:lnTo>
                    <a:pt x="241" y="27"/>
                  </a:lnTo>
                  <a:lnTo>
                    <a:pt x="241" y="27"/>
                  </a:lnTo>
                  <a:lnTo>
                    <a:pt x="241" y="28"/>
                  </a:lnTo>
                  <a:lnTo>
                    <a:pt x="241" y="28"/>
                  </a:lnTo>
                  <a:lnTo>
                    <a:pt x="241" y="28"/>
                  </a:lnTo>
                  <a:lnTo>
                    <a:pt x="242" y="28"/>
                  </a:lnTo>
                  <a:lnTo>
                    <a:pt x="242" y="28"/>
                  </a:lnTo>
                  <a:lnTo>
                    <a:pt x="242" y="29"/>
                  </a:lnTo>
                  <a:lnTo>
                    <a:pt x="242" y="29"/>
                  </a:lnTo>
                  <a:lnTo>
                    <a:pt x="243" y="29"/>
                  </a:lnTo>
                  <a:lnTo>
                    <a:pt x="243" y="29"/>
                  </a:lnTo>
                  <a:lnTo>
                    <a:pt x="243" y="29"/>
                  </a:lnTo>
                  <a:lnTo>
                    <a:pt x="244" y="29"/>
                  </a:lnTo>
                  <a:lnTo>
                    <a:pt x="244" y="29"/>
                  </a:lnTo>
                  <a:lnTo>
                    <a:pt x="244" y="29"/>
                  </a:lnTo>
                  <a:lnTo>
                    <a:pt x="244" y="29"/>
                  </a:lnTo>
                  <a:lnTo>
                    <a:pt x="245" y="28"/>
                  </a:lnTo>
                  <a:lnTo>
                    <a:pt x="245" y="28"/>
                  </a:lnTo>
                  <a:lnTo>
                    <a:pt x="246" y="27"/>
                  </a:lnTo>
                  <a:lnTo>
                    <a:pt x="246" y="27"/>
                  </a:lnTo>
                  <a:lnTo>
                    <a:pt x="247" y="26"/>
                  </a:lnTo>
                  <a:lnTo>
                    <a:pt x="248" y="25"/>
                  </a:lnTo>
                  <a:lnTo>
                    <a:pt x="248" y="24"/>
                  </a:lnTo>
                  <a:lnTo>
                    <a:pt x="249" y="23"/>
                  </a:lnTo>
                  <a:lnTo>
                    <a:pt x="250" y="22"/>
                  </a:lnTo>
                  <a:lnTo>
                    <a:pt x="250" y="22"/>
                  </a:lnTo>
                  <a:lnTo>
                    <a:pt x="251" y="21"/>
                  </a:lnTo>
                  <a:lnTo>
                    <a:pt x="252" y="21"/>
                  </a:lnTo>
                  <a:lnTo>
                    <a:pt x="252" y="21"/>
                  </a:lnTo>
                  <a:lnTo>
                    <a:pt x="253" y="20"/>
                  </a:lnTo>
                  <a:lnTo>
                    <a:pt x="253" y="20"/>
                  </a:lnTo>
                  <a:lnTo>
                    <a:pt x="258" y="20"/>
                  </a:lnTo>
                  <a:lnTo>
                    <a:pt x="263" y="20"/>
                  </a:lnTo>
                  <a:lnTo>
                    <a:pt x="264" y="20"/>
                  </a:lnTo>
                  <a:lnTo>
                    <a:pt x="264" y="20"/>
                  </a:lnTo>
                  <a:lnTo>
                    <a:pt x="265" y="19"/>
                  </a:lnTo>
                  <a:lnTo>
                    <a:pt x="266" y="18"/>
                  </a:lnTo>
                  <a:lnTo>
                    <a:pt x="267" y="17"/>
                  </a:lnTo>
                  <a:lnTo>
                    <a:pt x="268" y="16"/>
                  </a:lnTo>
                  <a:lnTo>
                    <a:pt x="268" y="15"/>
                  </a:lnTo>
                  <a:lnTo>
                    <a:pt x="269" y="14"/>
                  </a:lnTo>
                  <a:lnTo>
                    <a:pt x="270" y="13"/>
                  </a:lnTo>
                  <a:lnTo>
                    <a:pt x="270" y="12"/>
                  </a:lnTo>
                  <a:lnTo>
                    <a:pt x="271" y="10"/>
                  </a:lnTo>
                  <a:lnTo>
                    <a:pt x="271" y="9"/>
                  </a:lnTo>
                  <a:lnTo>
                    <a:pt x="272" y="8"/>
                  </a:lnTo>
                  <a:lnTo>
                    <a:pt x="273" y="7"/>
                  </a:lnTo>
                  <a:lnTo>
                    <a:pt x="274" y="7"/>
                  </a:lnTo>
                  <a:lnTo>
                    <a:pt x="274" y="6"/>
                  </a:lnTo>
                  <a:lnTo>
                    <a:pt x="275" y="6"/>
                  </a:lnTo>
                  <a:lnTo>
                    <a:pt x="276" y="6"/>
                  </a:lnTo>
                  <a:lnTo>
                    <a:pt x="276" y="5"/>
                  </a:lnTo>
                  <a:lnTo>
                    <a:pt x="278" y="5"/>
                  </a:lnTo>
                  <a:lnTo>
                    <a:pt x="280" y="6"/>
                  </a:lnTo>
                  <a:lnTo>
                    <a:pt x="282" y="6"/>
                  </a:lnTo>
                  <a:lnTo>
                    <a:pt x="284" y="7"/>
                  </a:lnTo>
                  <a:lnTo>
                    <a:pt x="285" y="7"/>
                  </a:lnTo>
                  <a:lnTo>
                    <a:pt x="287" y="8"/>
                  </a:lnTo>
                  <a:lnTo>
                    <a:pt x="288" y="9"/>
                  </a:lnTo>
                  <a:lnTo>
                    <a:pt x="289" y="10"/>
                  </a:lnTo>
                  <a:lnTo>
                    <a:pt x="290" y="11"/>
                  </a:lnTo>
                  <a:lnTo>
                    <a:pt x="291" y="12"/>
                  </a:lnTo>
                  <a:lnTo>
                    <a:pt x="292" y="14"/>
                  </a:lnTo>
                  <a:lnTo>
                    <a:pt x="293" y="15"/>
                  </a:lnTo>
                  <a:lnTo>
                    <a:pt x="293" y="17"/>
                  </a:lnTo>
                  <a:lnTo>
                    <a:pt x="294" y="19"/>
                  </a:lnTo>
                  <a:lnTo>
                    <a:pt x="294" y="20"/>
                  </a:lnTo>
                  <a:lnTo>
                    <a:pt x="294" y="22"/>
                  </a:lnTo>
                  <a:lnTo>
                    <a:pt x="294" y="23"/>
                  </a:lnTo>
                  <a:lnTo>
                    <a:pt x="293" y="23"/>
                  </a:lnTo>
                  <a:lnTo>
                    <a:pt x="293" y="24"/>
                  </a:lnTo>
                  <a:lnTo>
                    <a:pt x="292" y="24"/>
                  </a:lnTo>
                  <a:lnTo>
                    <a:pt x="292" y="25"/>
                  </a:lnTo>
                  <a:lnTo>
                    <a:pt x="291" y="25"/>
                  </a:lnTo>
                  <a:lnTo>
                    <a:pt x="291" y="27"/>
                  </a:lnTo>
                  <a:lnTo>
                    <a:pt x="290" y="28"/>
                  </a:lnTo>
                  <a:lnTo>
                    <a:pt x="289" y="29"/>
                  </a:lnTo>
                  <a:lnTo>
                    <a:pt x="289" y="31"/>
                  </a:lnTo>
                  <a:lnTo>
                    <a:pt x="288" y="31"/>
                  </a:lnTo>
                  <a:lnTo>
                    <a:pt x="288" y="32"/>
                  </a:lnTo>
                  <a:lnTo>
                    <a:pt x="288" y="32"/>
                  </a:lnTo>
                  <a:lnTo>
                    <a:pt x="287" y="33"/>
                  </a:lnTo>
                  <a:lnTo>
                    <a:pt x="286" y="33"/>
                  </a:lnTo>
                  <a:lnTo>
                    <a:pt x="285" y="34"/>
                  </a:lnTo>
                  <a:lnTo>
                    <a:pt x="285" y="35"/>
                  </a:lnTo>
                  <a:lnTo>
                    <a:pt x="284" y="35"/>
                  </a:lnTo>
                  <a:lnTo>
                    <a:pt x="284" y="35"/>
                  </a:lnTo>
                  <a:lnTo>
                    <a:pt x="284" y="36"/>
                  </a:lnTo>
                  <a:lnTo>
                    <a:pt x="284" y="36"/>
                  </a:lnTo>
                  <a:lnTo>
                    <a:pt x="284" y="37"/>
                  </a:lnTo>
                  <a:lnTo>
                    <a:pt x="284" y="37"/>
                  </a:lnTo>
                  <a:lnTo>
                    <a:pt x="284" y="38"/>
                  </a:lnTo>
                  <a:lnTo>
                    <a:pt x="284" y="39"/>
                  </a:lnTo>
                  <a:lnTo>
                    <a:pt x="285" y="39"/>
                  </a:lnTo>
                  <a:lnTo>
                    <a:pt x="286" y="40"/>
                  </a:lnTo>
                  <a:lnTo>
                    <a:pt x="287" y="41"/>
                  </a:lnTo>
                  <a:lnTo>
                    <a:pt x="287" y="41"/>
                  </a:lnTo>
                  <a:lnTo>
                    <a:pt x="288" y="42"/>
                  </a:lnTo>
                  <a:lnTo>
                    <a:pt x="288" y="43"/>
                  </a:lnTo>
                  <a:lnTo>
                    <a:pt x="289" y="44"/>
                  </a:lnTo>
                  <a:lnTo>
                    <a:pt x="289" y="44"/>
                  </a:lnTo>
                  <a:lnTo>
                    <a:pt x="289" y="45"/>
                  </a:lnTo>
                  <a:lnTo>
                    <a:pt x="290" y="46"/>
                  </a:lnTo>
                  <a:lnTo>
                    <a:pt x="290" y="48"/>
                  </a:lnTo>
                  <a:lnTo>
                    <a:pt x="290" y="50"/>
                  </a:lnTo>
                  <a:lnTo>
                    <a:pt x="290" y="52"/>
                  </a:lnTo>
                  <a:lnTo>
                    <a:pt x="290" y="54"/>
                  </a:lnTo>
                  <a:lnTo>
                    <a:pt x="291" y="56"/>
                  </a:lnTo>
                  <a:lnTo>
                    <a:pt x="291" y="58"/>
                  </a:lnTo>
                  <a:lnTo>
                    <a:pt x="291" y="60"/>
                  </a:lnTo>
                  <a:lnTo>
                    <a:pt x="291" y="61"/>
                  </a:lnTo>
                  <a:lnTo>
                    <a:pt x="291" y="61"/>
                  </a:lnTo>
                  <a:lnTo>
                    <a:pt x="292" y="62"/>
                  </a:lnTo>
                  <a:lnTo>
                    <a:pt x="292" y="63"/>
                  </a:lnTo>
                  <a:lnTo>
                    <a:pt x="292" y="64"/>
                  </a:lnTo>
                  <a:lnTo>
                    <a:pt x="293" y="65"/>
                  </a:lnTo>
                  <a:lnTo>
                    <a:pt x="293" y="66"/>
                  </a:lnTo>
                  <a:lnTo>
                    <a:pt x="294" y="67"/>
                  </a:lnTo>
                  <a:lnTo>
                    <a:pt x="294" y="68"/>
                  </a:lnTo>
                  <a:lnTo>
                    <a:pt x="294" y="68"/>
                  </a:lnTo>
                  <a:lnTo>
                    <a:pt x="294" y="69"/>
                  </a:lnTo>
                  <a:lnTo>
                    <a:pt x="295" y="69"/>
                  </a:lnTo>
                  <a:lnTo>
                    <a:pt x="295" y="69"/>
                  </a:lnTo>
                  <a:lnTo>
                    <a:pt x="295" y="70"/>
                  </a:lnTo>
                  <a:lnTo>
                    <a:pt x="295" y="70"/>
                  </a:lnTo>
                  <a:lnTo>
                    <a:pt x="294" y="71"/>
                  </a:lnTo>
                  <a:lnTo>
                    <a:pt x="294" y="72"/>
                  </a:lnTo>
                  <a:lnTo>
                    <a:pt x="294" y="73"/>
                  </a:lnTo>
                  <a:lnTo>
                    <a:pt x="293" y="73"/>
                  </a:lnTo>
                  <a:lnTo>
                    <a:pt x="293" y="74"/>
                  </a:lnTo>
                  <a:lnTo>
                    <a:pt x="291" y="76"/>
                  </a:lnTo>
                  <a:lnTo>
                    <a:pt x="291" y="77"/>
                  </a:lnTo>
                  <a:lnTo>
                    <a:pt x="290" y="77"/>
                  </a:lnTo>
                  <a:lnTo>
                    <a:pt x="290" y="78"/>
                  </a:lnTo>
                  <a:lnTo>
                    <a:pt x="290" y="79"/>
                  </a:lnTo>
                  <a:lnTo>
                    <a:pt x="290" y="79"/>
                  </a:lnTo>
                  <a:lnTo>
                    <a:pt x="290" y="80"/>
                  </a:lnTo>
                  <a:lnTo>
                    <a:pt x="290" y="80"/>
                  </a:lnTo>
                  <a:lnTo>
                    <a:pt x="290" y="80"/>
                  </a:lnTo>
                  <a:lnTo>
                    <a:pt x="290" y="81"/>
                  </a:lnTo>
                  <a:lnTo>
                    <a:pt x="290" y="82"/>
                  </a:lnTo>
                  <a:lnTo>
                    <a:pt x="291" y="83"/>
                  </a:lnTo>
                  <a:lnTo>
                    <a:pt x="291" y="83"/>
                  </a:lnTo>
                  <a:lnTo>
                    <a:pt x="292" y="84"/>
                  </a:lnTo>
                  <a:lnTo>
                    <a:pt x="293" y="84"/>
                  </a:lnTo>
                  <a:lnTo>
                    <a:pt x="294" y="85"/>
                  </a:lnTo>
                  <a:lnTo>
                    <a:pt x="295" y="86"/>
                  </a:lnTo>
                  <a:lnTo>
                    <a:pt x="295" y="87"/>
                  </a:lnTo>
                  <a:lnTo>
                    <a:pt x="296" y="87"/>
                  </a:lnTo>
                  <a:lnTo>
                    <a:pt x="297" y="88"/>
                  </a:lnTo>
                  <a:lnTo>
                    <a:pt x="297" y="89"/>
                  </a:lnTo>
                  <a:lnTo>
                    <a:pt x="298" y="90"/>
                  </a:lnTo>
                  <a:lnTo>
                    <a:pt x="298" y="91"/>
                  </a:lnTo>
                  <a:lnTo>
                    <a:pt x="298" y="92"/>
                  </a:lnTo>
                  <a:lnTo>
                    <a:pt x="298" y="92"/>
                  </a:lnTo>
                  <a:lnTo>
                    <a:pt x="298" y="93"/>
                  </a:lnTo>
                  <a:lnTo>
                    <a:pt x="297" y="93"/>
                  </a:lnTo>
                  <a:lnTo>
                    <a:pt x="297" y="94"/>
                  </a:lnTo>
                  <a:lnTo>
                    <a:pt x="296" y="94"/>
                  </a:lnTo>
                  <a:lnTo>
                    <a:pt x="296" y="95"/>
                  </a:lnTo>
                  <a:lnTo>
                    <a:pt x="295" y="95"/>
                  </a:lnTo>
                  <a:lnTo>
                    <a:pt x="295" y="95"/>
                  </a:lnTo>
                  <a:lnTo>
                    <a:pt x="294" y="95"/>
                  </a:lnTo>
                  <a:lnTo>
                    <a:pt x="294" y="95"/>
                  </a:lnTo>
                  <a:lnTo>
                    <a:pt x="293" y="96"/>
                  </a:lnTo>
                  <a:lnTo>
                    <a:pt x="293" y="96"/>
                  </a:lnTo>
                  <a:lnTo>
                    <a:pt x="292" y="96"/>
                  </a:lnTo>
                  <a:lnTo>
                    <a:pt x="292" y="97"/>
                  </a:lnTo>
                  <a:lnTo>
                    <a:pt x="292" y="97"/>
                  </a:lnTo>
                  <a:lnTo>
                    <a:pt x="292" y="98"/>
                  </a:lnTo>
                  <a:lnTo>
                    <a:pt x="292" y="101"/>
                  </a:lnTo>
                  <a:lnTo>
                    <a:pt x="292" y="103"/>
                  </a:lnTo>
                  <a:lnTo>
                    <a:pt x="292" y="105"/>
                  </a:lnTo>
                  <a:lnTo>
                    <a:pt x="291" y="107"/>
                  </a:lnTo>
                  <a:lnTo>
                    <a:pt x="291" y="110"/>
                  </a:lnTo>
                  <a:lnTo>
                    <a:pt x="291" y="112"/>
                  </a:lnTo>
                  <a:lnTo>
                    <a:pt x="291" y="115"/>
                  </a:lnTo>
                  <a:lnTo>
                    <a:pt x="291" y="117"/>
                  </a:lnTo>
                  <a:lnTo>
                    <a:pt x="292" y="117"/>
                  </a:lnTo>
                  <a:lnTo>
                    <a:pt x="293" y="117"/>
                  </a:lnTo>
                  <a:lnTo>
                    <a:pt x="293" y="117"/>
                  </a:lnTo>
                  <a:lnTo>
                    <a:pt x="294" y="116"/>
                  </a:lnTo>
                  <a:lnTo>
                    <a:pt x="295" y="116"/>
                  </a:lnTo>
                  <a:lnTo>
                    <a:pt x="295" y="115"/>
                  </a:lnTo>
                  <a:lnTo>
                    <a:pt x="296" y="115"/>
                  </a:lnTo>
                  <a:lnTo>
                    <a:pt x="297" y="114"/>
                  </a:lnTo>
                  <a:lnTo>
                    <a:pt x="297" y="114"/>
                  </a:lnTo>
                  <a:lnTo>
                    <a:pt x="298" y="114"/>
                  </a:lnTo>
                  <a:lnTo>
                    <a:pt x="299" y="113"/>
                  </a:lnTo>
                  <a:lnTo>
                    <a:pt x="300" y="113"/>
                  </a:lnTo>
                  <a:lnTo>
                    <a:pt x="301" y="113"/>
                  </a:lnTo>
                  <a:lnTo>
                    <a:pt x="302" y="113"/>
                  </a:lnTo>
                  <a:lnTo>
                    <a:pt x="302" y="113"/>
                  </a:lnTo>
                  <a:lnTo>
                    <a:pt x="303" y="114"/>
                  </a:lnTo>
                  <a:lnTo>
                    <a:pt x="303" y="114"/>
                  </a:lnTo>
                  <a:lnTo>
                    <a:pt x="304" y="115"/>
                  </a:lnTo>
                  <a:lnTo>
                    <a:pt x="304" y="116"/>
                  </a:lnTo>
                  <a:lnTo>
                    <a:pt x="304" y="116"/>
                  </a:lnTo>
                  <a:lnTo>
                    <a:pt x="304" y="117"/>
                  </a:lnTo>
                  <a:lnTo>
                    <a:pt x="304" y="117"/>
                  </a:lnTo>
                  <a:lnTo>
                    <a:pt x="304" y="118"/>
                  </a:lnTo>
                  <a:lnTo>
                    <a:pt x="304" y="118"/>
                  </a:lnTo>
                  <a:lnTo>
                    <a:pt x="304" y="119"/>
                  </a:lnTo>
                  <a:lnTo>
                    <a:pt x="304" y="119"/>
                  </a:lnTo>
                  <a:lnTo>
                    <a:pt x="304" y="120"/>
                  </a:lnTo>
                  <a:lnTo>
                    <a:pt x="303" y="121"/>
                  </a:lnTo>
                  <a:lnTo>
                    <a:pt x="302" y="122"/>
                  </a:lnTo>
                  <a:lnTo>
                    <a:pt x="302" y="123"/>
                  </a:lnTo>
                  <a:lnTo>
                    <a:pt x="301" y="124"/>
                  </a:lnTo>
                  <a:lnTo>
                    <a:pt x="300" y="125"/>
                  </a:lnTo>
                  <a:lnTo>
                    <a:pt x="300" y="126"/>
                  </a:lnTo>
                  <a:lnTo>
                    <a:pt x="300" y="127"/>
                  </a:lnTo>
                  <a:lnTo>
                    <a:pt x="300" y="128"/>
                  </a:lnTo>
                  <a:lnTo>
                    <a:pt x="299" y="128"/>
                  </a:lnTo>
                  <a:lnTo>
                    <a:pt x="299" y="129"/>
                  </a:lnTo>
                  <a:lnTo>
                    <a:pt x="299" y="130"/>
                  </a:lnTo>
                  <a:lnTo>
                    <a:pt x="299" y="130"/>
                  </a:lnTo>
                  <a:lnTo>
                    <a:pt x="299" y="131"/>
                  </a:lnTo>
                  <a:lnTo>
                    <a:pt x="299" y="132"/>
                  </a:lnTo>
                  <a:lnTo>
                    <a:pt x="290" y="132"/>
                  </a:lnTo>
                  <a:lnTo>
                    <a:pt x="281" y="132"/>
                  </a:lnTo>
                  <a:lnTo>
                    <a:pt x="272" y="132"/>
                  </a:lnTo>
                  <a:lnTo>
                    <a:pt x="263" y="132"/>
                  </a:lnTo>
                  <a:lnTo>
                    <a:pt x="260" y="133"/>
                  </a:lnTo>
                  <a:lnTo>
                    <a:pt x="256" y="134"/>
                  </a:lnTo>
                  <a:lnTo>
                    <a:pt x="253" y="136"/>
                  </a:lnTo>
                  <a:lnTo>
                    <a:pt x="250" y="137"/>
                  </a:lnTo>
                  <a:lnTo>
                    <a:pt x="247" y="139"/>
                  </a:lnTo>
                  <a:lnTo>
                    <a:pt x="244" y="140"/>
                  </a:lnTo>
                  <a:lnTo>
                    <a:pt x="243" y="141"/>
                  </a:lnTo>
                  <a:lnTo>
                    <a:pt x="242" y="142"/>
                  </a:lnTo>
                  <a:lnTo>
                    <a:pt x="240" y="143"/>
                  </a:lnTo>
                  <a:lnTo>
                    <a:pt x="239" y="144"/>
                  </a:lnTo>
                  <a:lnTo>
                    <a:pt x="238" y="145"/>
                  </a:lnTo>
                  <a:lnTo>
                    <a:pt x="237" y="146"/>
                  </a:lnTo>
                  <a:lnTo>
                    <a:pt x="236" y="147"/>
                  </a:lnTo>
                  <a:lnTo>
                    <a:pt x="235" y="148"/>
                  </a:lnTo>
                  <a:lnTo>
                    <a:pt x="234" y="150"/>
                  </a:lnTo>
                  <a:lnTo>
                    <a:pt x="233" y="151"/>
                  </a:lnTo>
                  <a:lnTo>
                    <a:pt x="232" y="152"/>
                  </a:lnTo>
                  <a:lnTo>
                    <a:pt x="231" y="153"/>
                  </a:lnTo>
                  <a:lnTo>
                    <a:pt x="230" y="155"/>
                  </a:lnTo>
                  <a:lnTo>
                    <a:pt x="230" y="156"/>
                  </a:lnTo>
                  <a:lnTo>
                    <a:pt x="229" y="157"/>
                  </a:lnTo>
                  <a:lnTo>
                    <a:pt x="229" y="159"/>
                  </a:lnTo>
                  <a:lnTo>
                    <a:pt x="228" y="161"/>
                  </a:lnTo>
                  <a:lnTo>
                    <a:pt x="228" y="162"/>
                  </a:lnTo>
                  <a:lnTo>
                    <a:pt x="228" y="164"/>
                  </a:lnTo>
                  <a:lnTo>
                    <a:pt x="228" y="165"/>
                  </a:lnTo>
                  <a:lnTo>
                    <a:pt x="222" y="166"/>
                  </a:lnTo>
                  <a:lnTo>
                    <a:pt x="216" y="167"/>
                  </a:lnTo>
                  <a:lnTo>
                    <a:pt x="211" y="168"/>
                  </a:lnTo>
                  <a:lnTo>
                    <a:pt x="205" y="168"/>
                  </a:lnTo>
                  <a:lnTo>
                    <a:pt x="199" y="169"/>
                  </a:lnTo>
                  <a:lnTo>
                    <a:pt x="193" y="169"/>
                  </a:lnTo>
                  <a:lnTo>
                    <a:pt x="187" y="170"/>
                  </a:lnTo>
                  <a:lnTo>
                    <a:pt x="181" y="171"/>
                  </a:lnTo>
                  <a:lnTo>
                    <a:pt x="175" y="171"/>
                  </a:lnTo>
                  <a:lnTo>
                    <a:pt x="169" y="171"/>
                  </a:lnTo>
                  <a:lnTo>
                    <a:pt x="163" y="172"/>
                  </a:lnTo>
                  <a:lnTo>
                    <a:pt x="157" y="172"/>
                  </a:lnTo>
                  <a:lnTo>
                    <a:pt x="150" y="172"/>
                  </a:lnTo>
                  <a:lnTo>
                    <a:pt x="144" y="172"/>
                  </a:lnTo>
                  <a:lnTo>
                    <a:pt x="138" y="172"/>
                  </a:lnTo>
                  <a:lnTo>
                    <a:pt x="131" y="172"/>
                  </a:lnTo>
                  <a:lnTo>
                    <a:pt x="131" y="171"/>
                  </a:lnTo>
                  <a:lnTo>
                    <a:pt x="131" y="171"/>
                  </a:lnTo>
                  <a:lnTo>
                    <a:pt x="130" y="170"/>
                  </a:lnTo>
                  <a:lnTo>
                    <a:pt x="130" y="170"/>
                  </a:lnTo>
                  <a:lnTo>
                    <a:pt x="130" y="169"/>
                  </a:lnTo>
                  <a:lnTo>
                    <a:pt x="129" y="169"/>
                  </a:lnTo>
                  <a:lnTo>
                    <a:pt x="128" y="169"/>
                  </a:lnTo>
                  <a:lnTo>
                    <a:pt x="128" y="169"/>
                  </a:lnTo>
                  <a:lnTo>
                    <a:pt x="125" y="169"/>
                  </a:lnTo>
                  <a:lnTo>
                    <a:pt x="123" y="169"/>
                  </a:lnTo>
                  <a:lnTo>
                    <a:pt x="120" y="169"/>
                  </a:lnTo>
                  <a:lnTo>
                    <a:pt x="118" y="169"/>
                  </a:lnTo>
                  <a:lnTo>
                    <a:pt x="112" y="168"/>
                  </a:lnTo>
                  <a:lnTo>
                    <a:pt x="107" y="168"/>
                  </a:lnTo>
                  <a:lnTo>
                    <a:pt x="104" y="168"/>
                  </a:lnTo>
                  <a:lnTo>
                    <a:pt x="102" y="168"/>
                  </a:lnTo>
                  <a:lnTo>
                    <a:pt x="99" y="168"/>
                  </a:lnTo>
                  <a:lnTo>
                    <a:pt x="97" y="168"/>
                  </a:lnTo>
                  <a:lnTo>
                    <a:pt x="94" y="169"/>
                  </a:lnTo>
                  <a:lnTo>
                    <a:pt x="92" y="169"/>
                  </a:lnTo>
                  <a:lnTo>
                    <a:pt x="90" y="169"/>
                  </a:lnTo>
                  <a:lnTo>
                    <a:pt x="89" y="170"/>
                  </a:lnTo>
                  <a:lnTo>
                    <a:pt x="88" y="170"/>
                  </a:lnTo>
                  <a:lnTo>
                    <a:pt x="86" y="170"/>
                  </a:lnTo>
                  <a:lnTo>
                    <a:pt x="84" y="169"/>
                  </a:lnTo>
                  <a:lnTo>
                    <a:pt x="82" y="169"/>
                  </a:lnTo>
                  <a:lnTo>
                    <a:pt x="80" y="169"/>
                  </a:lnTo>
                  <a:lnTo>
                    <a:pt x="78" y="168"/>
                  </a:lnTo>
                  <a:lnTo>
                    <a:pt x="75" y="168"/>
                  </a:lnTo>
                  <a:lnTo>
                    <a:pt x="73" y="168"/>
                  </a:lnTo>
                  <a:lnTo>
                    <a:pt x="71" y="168"/>
                  </a:lnTo>
                  <a:lnTo>
                    <a:pt x="66" y="168"/>
                  </a:lnTo>
                  <a:lnTo>
                    <a:pt x="61" y="168"/>
                  </a:lnTo>
                  <a:lnTo>
                    <a:pt x="58" y="169"/>
                  </a:lnTo>
                  <a:lnTo>
                    <a:pt x="56" y="169"/>
                  </a:lnTo>
                  <a:lnTo>
                    <a:pt x="54" y="169"/>
                  </a:lnTo>
                  <a:lnTo>
                    <a:pt x="51" y="169"/>
                  </a:lnTo>
                  <a:lnTo>
                    <a:pt x="50" y="167"/>
                  </a:lnTo>
                  <a:lnTo>
                    <a:pt x="48" y="166"/>
                  </a:lnTo>
                  <a:lnTo>
                    <a:pt x="46" y="165"/>
                  </a:lnTo>
                  <a:lnTo>
                    <a:pt x="44" y="163"/>
                  </a:lnTo>
                  <a:lnTo>
                    <a:pt x="40" y="161"/>
                  </a:lnTo>
                  <a:lnTo>
                    <a:pt x="36" y="158"/>
                  </a:lnTo>
                  <a:lnTo>
                    <a:pt x="33" y="156"/>
                  </a:lnTo>
                  <a:lnTo>
                    <a:pt x="29" y="154"/>
                  </a:lnTo>
                  <a:lnTo>
                    <a:pt x="27" y="152"/>
                  </a:lnTo>
                  <a:lnTo>
                    <a:pt x="25" y="151"/>
                  </a:lnTo>
                  <a:lnTo>
                    <a:pt x="23" y="150"/>
                  </a:lnTo>
                  <a:lnTo>
                    <a:pt x="22" y="149"/>
                  </a:lnTo>
                  <a:lnTo>
                    <a:pt x="20" y="148"/>
                  </a:lnTo>
                  <a:lnTo>
                    <a:pt x="18" y="148"/>
                  </a:lnTo>
                  <a:lnTo>
                    <a:pt x="16" y="148"/>
                  </a:lnTo>
                  <a:lnTo>
                    <a:pt x="14" y="147"/>
                  </a:lnTo>
                  <a:lnTo>
                    <a:pt x="12" y="147"/>
                  </a:lnTo>
                  <a:lnTo>
                    <a:pt x="11" y="146"/>
                  </a:lnTo>
                  <a:lnTo>
                    <a:pt x="9" y="145"/>
                  </a:lnTo>
                  <a:lnTo>
                    <a:pt x="8" y="145"/>
                  </a:lnTo>
                  <a:lnTo>
                    <a:pt x="6" y="144"/>
                  </a:lnTo>
                  <a:lnTo>
                    <a:pt x="5" y="143"/>
                  </a:lnTo>
                  <a:lnTo>
                    <a:pt x="4" y="142"/>
                  </a:lnTo>
                  <a:lnTo>
                    <a:pt x="3" y="141"/>
                  </a:lnTo>
                  <a:lnTo>
                    <a:pt x="2" y="140"/>
                  </a:lnTo>
                  <a:lnTo>
                    <a:pt x="1" y="138"/>
                  </a:lnTo>
                  <a:lnTo>
                    <a:pt x="0" y="137"/>
                  </a:lnTo>
                  <a:lnTo>
                    <a:pt x="0" y="135"/>
                  </a:lnTo>
                  <a:lnTo>
                    <a:pt x="0" y="134"/>
                  </a:lnTo>
                  <a:lnTo>
                    <a:pt x="1" y="133"/>
                  </a:lnTo>
                  <a:lnTo>
                    <a:pt x="2" y="132"/>
                  </a:lnTo>
                  <a:lnTo>
                    <a:pt x="2" y="131"/>
                  </a:lnTo>
                  <a:lnTo>
                    <a:pt x="3" y="130"/>
                  </a:lnTo>
                  <a:lnTo>
                    <a:pt x="4" y="130"/>
                  </a:lnTo>
                  <a:lnTo>
                    <a:pt x="5" y="129"/>
                  </a:lnTo>
                  <a:lnTo>
                    <a:pt x="6" y="128"/>
                  </a:lnTo>
                  <a:lnTo>
                    <a:pt x="8" y="127"/>
                  </a:lnTo>
                  <a:lnTo>
                    <a:pt x="10" y="126"/>
                  </a:lnTo>
                  <a:lnTo>
                    <a:pt x="12" y="124"/>
                  </a:lnTo>
                  <a:lnTo>
                    <a:pt x="14" y="123"/>
                  </a:lnTo>
                  <a:lnTo>
                    <a:pt x="16" y="122"/>
                  </a:lnTo>
                  <a:lnTo>
                    <a:pt x="18" y="120"/>
                  </a:lnTo>
                  <a:lnTo>
                    <a:pt x="20" y="119"/>
                  </a:lnTo>
                  <a:lnTo>
                    <a:pt x="21" y="118"/>
                  </a:lnTo>
                  <a:lnTo>
                    <a:pt x="22" y="117"/>
                  </a:lnTo>
                  <a:lnTo>
                    <a:pt x="23" y="117"/>
                  </a:lnTo>
                  <a:lnTo>
                    <a:pt x="23" y="116"/>
                  </a:lnTo>
                  <a:lnTo>
                    <a:pt x="24" y="115"/>
                  </a:lnTo>
                  <a:lnTo>
                    <a:pt x="25" y="114"/>
                  </a:lnTo>
                  <a:lnTo>
                    <a:pt x="25" y="112"/>
                  </a:lnTo>
                  <a:lnTo>
                    <a:pt x="26" y="111"/>
                  </a:lnTo>
                  <a:lnTo>
                    <a:pt x="26" y="110"/>
                  </a:lnTo>
                  <a:lnTo>
                    <a:pt x="26" y="109"/>
                  </a:lnTo>
                  <a:lnTo>
                    <a:pt x="26" y="108"/>
                  </a:lnTo>
                  <a:lnTo>
                    <a:pt x="26" y="108"/>
                  </a:lnTo>
                  <a:lnTo>
                    <a:pt x="25" y="107"/>
                  </a:lnTo>
                  <a:lnTo>
                    <a:pt x="25" y="106"/>
                  </a:lnTo>
                  <a:lnTo>
                    <a:pt x="25" y="106"/>
                  </a:lnTo>
                  <a:lnTo>
                    <a:pt x="25" y="105"/>
                  </a:lnTo>
                  <a:lnTo>
                    <a:pt x="25" y="104"/>
                  </a:lnTo>
                  <a:lnTo>
                    <a:pt x="24" y="102"/>
                  </a:lnTo>
                  <a:lnTo>
                    <a:pt x="24" y="102"/>
                  </a:lnTo>
                  <a:lnTo>
                    <a:pt x="24" y="101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23" y="99"/>
                  </a:lnTo>
                  <a:lnTo>
                    <a:pt x="23" y="99"/>
                  </a:lnTo>
                  <a:lnTo>
                    <a:pt x="24" y="98"/>
                  </a:lnTo>
                  <a:lnTo>
                    <a:pt x="26" y="97"/>
                  </a:lnTo>
                  <a:lnTo>
                    <a:pt x="27" y="96"/>
                  </a:lnTo>
                  <a:lnTo>
                    <a:pt x="28" y="95"/>
                  </a:lnTo>
                  <a:lnTo>
                    <a:pt x="29" y="95"/>
                  </a:lnTo>
                  <a:lnTo>
                    <a:pt x="30" y="94"/>
                  </a:lnTo>
                  <a:lnTo>
                    <a:pt x="31" y="93"/>
                  </a:lnTo>
                  <a:lnTo>
                    <a:pt x="32" y="91"/>
                  </a:lnTo>
                  <a:lnTo>
                    <a:pt x="33" y="89"/>
                  </a:lnTo>
                  <a:lnTo>
                    <a:pt x="35" y="87"/>
                  </a:lnTo>
                  <a:lnTo>
                    <a:pt x="36" y="84"/>
                  </a:lnTo>
                  <a:lnTo>
                    <a:pt x="38" y="82"/>
                  </a:lnTo>
                  <a:lnTo>
                    <a:pt x="39" y="82"/>
                  </a:lnTo>
                  <a:lnTo>
                    <a:pt x="40" y="81"/>
                  </a:lnTo>
                  <a:lnTo>
                    <a:pt x="41" y="81"/>
                  </a:lnTo>
                  <a:lnTo>
                    <a:pt x="42" y="81"/>
                  </a:lnTo>
                  <a:lnTo>
                    <a:pt x="43" y="81"/>
                  </a:lnTo>
                  <a:lnTo>
                    <a:pt x="44" y="81"/>
                  </a:lnTo>
                  <a:lnTo>
                    <a:pt x="46" y="82"/>
                  </a:lnTo>
                  <a:lnTo>
                    <a:pt x="47" y="82"/>
                  </a:lnTo>
                  <a:lnTo>
                    <a:pt x="48" y="82"/>
                  </a:lnTo>
                  <a:lnTo>
                    <a:pt x="49" y="82"/>
                  </a:lnTo>
                  <a:lnTo>
                    <a:pt x="51" y="82"/>
                  </a:lnTo>
                  <a:lnTo>
                    <a:pt x="52" y="82"/>
                  </a:lnTo>
                  <a:lnTo>
                    <a:pt x="54" y="82"/>
                  </a:lnTo>
                  <a:lnTo>
                    <a:pt x="55" y="82"/>
                  </a:lnTo>
                  <a:lnTo>
                    <a:pt x="56" y="82"/>
                  </a:lnTo>
                  <a:lnTo>
                    <a:pt x="57" y="81"/>
                  </a:lnTo>
                  <a:lnTo>
                    <a:pt x="58" y="81"/>
                  </a:lnTo>
                  <a:lnTo>
                    <a:pt x="60" y="80"/>
                  </a:lnTo>
                  <a:lnTo>
                    <a:pt x="62" y="78"/>
                  </a:lnTo>
                  <a:lnTo>
                    <a:pt x="64" y="77"/>
                  </a:lnTo>
                  <a:lnTo>
                    <a:pt x="66" y="76"/>
                  </a:lnTo>
                  <a:lnTo>
                    <a:pt x="67" y="74"/>
                  </a:lnTo>
                  <a:lnTo>
                    <a:pt x="69" y="73"/>
                  </a:lnTo>
                  <a:lnTo>
                    <a:pt x="70" y="72"/>
                  </a:lnTo>
                  <a:lnTo>
                    <a:pt x="71" y="72"/>
                  </a:lnTo>
                  <a:lnTo>
                    <a:pt x="71" y="71"/>
                  </a:lnTo>
                  <a:lnTo>
                    <a:pt x="71" y="70"/>
                  </a:lnTo>
                  <a:lnTo>
                    <a:pt x="71" y="70"/>
                  </a:lnTo>
                  <a:lnTo>
                    <a:pt x="71" y="69"/>
                  </a:lnTo>
                  <a:lnTo>
                    <a:pt x="71" y="68"/>
                  </a:lnTo>
                  <a:lnTo>
                    <a:pt x="72" y="68"/>
                  </a:lnTo>
                  <a:lnTo>
                    <a:pt x="72" y="67"/>
                  </a:lnTo>
                  <a:lnTo>
                    <a:pt x="73" y="66"/>
                  </a:lnTo>
                  <a:lnTo>
                    <a:pt x="73" y="66"/>
                  </a:lnTo>
                  <a:lnTo>
                    <a:pt x="73" y="65"/>
                  </a:lnTo>
                  <a:lnTo>
                    <a:pt x="73" y="64"/>
                  </a:lnTo>
                  <a:lnTo>
                    <a:pt x="73" y="64"/>
                  </a:lnTo>
                  <a:lnTo>
                    <a:pt x="73" y="63"/>
                  </a:lnTo>
                  <a:lnTo>
                    <a:pt x="73" y="62"/>
                  </a:lnTo>
                  <a:lnTo>
                    <a:pt x="74" y="61"/>
                  </a:lnTo>
                  <a:lnTo>
                    <a:pt x="75" y="61"/>
                  </a:lnTo>
                  <a:lnTo>
                    <a:pt x="78" y="59"/>
                  </a:lnTo>
                  <a:lnTo>
                    <a:pt x="79" y="58"/>
                  </a:lnTo>
                  <a:lnTo>
                    <a:pt x="81" y="56"/>
                  </a:lnTo>
                  <a:lnTo>
                    <a:pt x="83" y="54"/>
                  </a:lnTo>
                  <a:lnTo>
                    <a:pt x="85" y="53"/>
                  </a:lnTo>
                  <a:lnTo>
                    <a:pt x="86" y="51"/>
                  </a:lnTo>
                  <a:lnTo>
                    <a:pt x="88" y="49"/>
                  </a:lnTo>
                  <a:lnTo>
                    <a:pt x="91" y="45"/>
                  </a:lnTo>
                  <a:lnTo>
                    <a:pt x="93" y="43"/>
                  </a:lnTo>
                  <a:lnTo>
                    <a:pt x="94" y="42"/>
                  </a:lnTo>
                  <a:lnTo>
                    <a:pt x="96" y="40"/>
                  </a:lnTo>
                  <a:lnTo>
                    <a:pt x="98" y="38"/>
                  </a:lnTo>
                  <a:lnTo>
                    <a:pt x="99" y="37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101" y="34"/>
                  </a:lnTo>
                  <a:lnTo>
                    <a:pt x="101" y="33"/>
                  </a:lnTo>
                  <a:lnTo>
                    <a:pt x="101" y="32"/>
                  </a:lnTo>
                  <a:lnTo>
                    <a:pt x="101" y="32"/>
                  </a:lnTo>
                  <a:lnTo>
                    <a:pt x="102" y="31"/>
                  </a:lnTo>
                  <a:lnTo>
                    <a:pt x="102" y="30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8"/>
                  </a:lnTo>
                  <a:lnTo>
                    <a:pt x="103" y="28"/>
                  </a:lnTo>
                  <a:lnTo>
                    <a:pt x="103" y="27"/>
                  </a:lnTo>
                  <a:lnTo>
                    <a:pt x="103" y="26"/>
                  </a:lnTo>
                  <a:lnTo>
                    <a:pt x="103" y="25"/>
                  </a:lnTo>
                  <a:lnTo>
                    <a:pt x="104" y="25"/>
                  </a:lnTo>
                  <a:lnTo>
                    <a:pt x="105" y="25"/>
                  </a:lnTo>
                  <a:lnTo>
                    <a:pt x="106" y="25"/>
                  </a:lnTo>
                  <a:lnTo>
                    <a:pt x="107" y="25"/>
                  </a:lnTo>
                  <a:lnTo>
                    <a:pt x="107" y="24"/>
                  </a:lnTo>
                  <a:lnTo>
                    <a:pt x="108" y="24"/>
                  </a:lnTo>
                  <a:lnTo>
                    <a:pt x="109" y="23"/>
                  </a:lnTo>
                  <a:lnTo>
                    <a:pt x="110" y="22"/>
                  </a:lnTo>
                  <a:lnTo>
                    <a:pt x="111" y="22"/>
                  </a:lnTo>
                  <a:lnTo>
                    <a:pt x="111" y="21"/>
                  </a:lnTo>
                  <a:lnTo>
                    <a:pt x="112" y="21"/>
                  </a:lnTo>
                  <a:lnTo>
                    <a:pt x="113" y="21"/>
                  </a:lnTo>
                  <a:lnTo>
                    <a:pt x="114" y="20"/>
                  </a:lnTo>
                  <a:lnTo>
                    <a:pt x="115" y="20"/>
                  </a:lnTo>
                  <a:lnTo>
                    <a:pt x="115" y="21"/>
                  </a:lnTo>
                  <a:lnTo>
                    <a:pt x="116" y="21"/>
                  </a:lnTo>
                  <a:lnTo>
                    <a:pt x="117" y="22"/>
                  </a:lnTo>
                  <a:lnTo>
                    <a:pt x="117" y="23"/>
                  </a:lnTo>
                  <a:lnTo>
                    <a:pt x="118" y="24"/>
                  </a:lnTo>
                  <a:lnTo>
                    <a:pt x="119" y="25"/>
                  </a:lnTo>
                  <a:lnTo>
                    <a:pt x="120" y="26"/>
                  </a:lnTo>
                  <a:lnTo>
                    <a:pt x="120" y="26"/>
                  </a:lnTo>
                  <a:lnTo>
                    <a:pt x="121" y="27"/>
                  </a:lnTo>
                  <a:lnTo>
                    <a:pt x="122" y="27"/>
                  </a:lnTo>
                  <a:lnTo>
                    <a:pt x="123" y="27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5" y="27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27" y="27"/>
                  </a:lnTo>
                  <a:lnTo>
                    <a:pt x="128" y="27"/>
                  </a:lnTo>
                  <a:lnTo>
                    <a:pt x="128" y="28"/>
                  </a:lnTo>
                  <a:lnTo>
                    <a:pt x="128" y="29"/>
                  </a:lnTo>
                  <a:lnTo>
                    <a:pt x="128" y="29"/>
                  </a:lnTo>
                  <a:lnTo>
                    <a:pt x="128" y="30"/>
                  </a:lnTo>
                  <a:lnTo>
                    <a:pt x="128" y="30"/>
                  </a:lnTo>
                  <a:lnTo>
                    <a:pt x="129" y="31"/>
                  </a:lnTo>
                  <a:lnTo>
                    <a:pt x="129" y="32"/>
                  </a:lnTo>
                  <a:lnTo>
                    <a:pt x="130" y="32"/>
                  </a:lnTo>
                  <a:lnTo>
                    <a:pt x="130" y="33"/>
                  </a:lnTo>
                  <a:lnTo>
                    <a:pt x="131" y="34"/>
                  </a:lnTo>
                  <a:lnTo>
                    <a:pt x="131" y="35"/>
                  </a:lnTo>
                  <a:lnTo>
                    <a:pt x="131" y="35"/>
                  </a:lnTo>
                  <a:lnTo>
                    <a:pt x="133" y="35"/>
                  </a:lnTo>
                  <a:lnTo>
                    <a:pt x="134" y="35"/>
                  </a:lnTo>
                  <a:lnTo>
                    <a:pt x="136" y="35"/>
                  </a:lnTo>
                  <a:lnTo>
                    <a:pt x="137" y="35"/>
                  </a:lnTo>
                  <a:lnTo>
                    <a:pt x="138" y="36"/>
                  </a:lnTo>
                  <a:lnTo>
                    <a:pt x="140" y="36"/>
                  </a:lnTo>
                  <a:lnTo>
                    <a:pt x="142" y="36"/>
                  </a:lnTo>
                  <a:lnTo>
                    <a:pt x="144" y="37"/>
                  </a:lnTo>
                  <a:lnTo>
                    <a:pt x="146" y="37"/>
                  </a:lnTo>
                  <a:lnTo>
                    <a:pt x="147" y="37"/>
                  </a:lnTo>
                  <a:lnTo>
                    <a:pt x="148" y="37"/>
                  </a:lnTo>
                  <a:lnTo>
                    <a:pt x="150" y="37"/>
                  </a:lnTo>
                  <a:lnTo>
                    <a:pt x="151" y="37"/>
                  </a:lnTo>
                  <a:lnTo>
                    <a:pt x="153" y="37"/>
                  </a:lnTo>
                  <a:lnTo>
                    <a:pt x="154" y="36"/>
                  </a:lnTo>
                  <a:lnTo>
                    <a:pt x="154" y="35"/>
                  </a:lnTo>
                  <a:lnTo>
                    <a:pt x="155" y="35"/>
                  </a:lnTo>
                  <a:lnTo>
                    <a:pt x="155" y="34"/>
                  </a:lnTo>
                  <a:lnTo>
                    <a:pt x="156" y="33"/>
                  </a:lnTo>
                  <a:lnTo>
                    <a:pt x="156" y="31"/>
                  </a:lnTo>
                  <a:lnTo>
                    <a:pt x="157" y="29"/>
                  </a:lnTo>
                  <a:lnTo>
                    <a:pt x="157" y="27"/>
                  </a:lnTo>
                  <a:lnTo>
                    <a:pt x="158" y="26"/>
                  </a:lnTo>
                  <a:lnTo>
                    <a:pt x="158" y="25"/>
                  </a:lnTo>
                  <a:lnTo>
                    <a:pt x="159" y="24"/>
                  </a:lnTo>
                  <a:lnTo>
                    <a:pt x="160" y="23"/>
                  </a:lnTo>
                  <a:lnTo>
                    <a:pt x="160" y="23"/>
                  </a:lnTo>
                  <a:lnTo>
                    <a:pt x="161" y="22"/>
                  </a:lnTo>
                  <a:lnTo>
                    <a:pt x="162" y="22"/>
                  </a:lnTo>
                  <a:lnTo>
                    <a:pt x="163" y="22"/>
                  </a:lnTo>
                  <a:lnTo>
                    <a:pt x="164" y="22"/>
                  </a:lnTo>
                  <a:lnTo>
                    <a:pt x="165" y="22"/>
                  </a:lnTo>
                  <a:lnTo>
                    <a:pt x="165" y="22"/>
                  </a:lnTo>
                  <a:lnTo>
                    <a:pt x="166" y="22"/>
                  </a:lnTo>
                  <a:lnTo>
                    <a:pt x="167" y="21"/>
                  </a:lnTo>
                  <a:lnTo>
                    <a:pt x="168" y="20"/>
                  </a:lnTo>
                  <a:lnTo>
                    <a:pt x="169" y="20"/>
                  </a:lnTo>
                  <a:lnTo>
                    <a:pt x="170" y="19"/>
                  </a:lnTo>
                  <a:lnTo>
                    <a:pt x="171" y="19"/>
                  </a:lnTo>
                  <a:lnTo>
                    <a:pt x="171" y="19"/>
                  </a:lnTo>
                  <a:lnTo>
                    <a:pt x="171" y="20"/>
                  </a:lnTo>
                  <a:lnTo>
                    <a:pt x="171" y="22"/>
                  </a:lnTo>
                  <a:lnTo>
                    <a:pt x="171" y="23"/>
                  </a:lnTo>
                  <a:lnTo>
                    <a:pt x="171" y="24"/>
                  </a:lnTo>
                  <a:lnTo>
                    <a:pt x="171" y="24"/>
                  </a:lnTo>
                  <a:lnTo>
                    <a:pt x="172" y="25"/>
                  </a:lnTo>
                  <a:lnTo>
                    <a:pt x="172" y="25"/>
                  </a:lnTo>
                  <a:lnTo>
                    <a:pt x="172" y="26"/>
                  </a:lnTo>
                  <a:lnTo>
                    <a:pt x="173" y="26"/>
                  </a:lnTo>
                  <a:lnTo>
                    <a:pt x="173" y="27"/>
                  </a:lnTo>
                  <a:lnTo>
                    <a:pt x="174" y="27"/>
                  </a:lnTo>
                  <a:lnTo>
                    <a:pt x="175" y="27"/>
                  </a:lnTo>
                  <a:lnTo>
                    <a:pt x="175" y="27"/>
                  </a:lnTo>
                  <a:lnTo>
                    <a:pt x="176" y="27"/>
                  </a:lnTo>
                  <a:lnTo>
                    <a:pt x="177" y="27"/>
                  </a:lnTo>
                  <a:lnTo>
                    <a:pt x="178" y="27"/>
                  </a:lnTo>
                  <a:lnTo>
                    <a:pt x="179" y="27"/>
                  </a:lnTo>
                  <a:lnTo>
                    <a:pt x="180" y="27"/>
                  </a:lnTo>
                  <a:lnTo>
                    <a:pt x="181" y="27"/>
                  </a:lnTo>
                  <a:lnTo>
                    <a:pt x="181" y="26"/>
                  </a:lnTo>
                  <a:lnTo>
                    <a:pt x="182" y="26"/>
                  </a:lnTo>
                  <a:lnTo>
                    <a:pt x="182" y="26"/>
                  </a:lnTo>
                  <a:lnTo>
                    <a:pt x="183" y="25"/>
                  </a:lnTo>
                  <a:lnTo>
                    <a:pt x="183" y="25"/>
                  </a:lnTo>
                  <a:lnTo>
                    <a:pt x="184" y="24"/>
                  </a:lnTo>
                  <a:lnTo>
                    <a:pt x="184" y="23"/>
                  </a:lnTo>
                  <a:lnTo>
                    <a:pt x="184" y="23"/>
                  </a:lnTo>
                  <a:lnTo>
                    <a:pt x="184" y="22"/>
                  </a:lnTo>
                  <a:lnTo>
                    <a:pt x="185" y="21"/>
                  </a:lnTo>
                  <a:lnTo>
                    <a:pt x="185" y="20"/>
                  </a:lnTo>
                  <a:lnTo>
                    <a:pt x="186" y="20"/>
                  </a:lnTo>
                  <a:lnTo>
                    <a:pt x="187" y="20"/>
                  </a:lnTo>
                  <a:lnTo>
                    <a:pt x="187" y="20"/>
                  </a:lnTo>
                  <a:lnTo>
                    <a:pt x="188" y="20"/>
                  </a:lnTo>
                  <a:lnTo>
                    <a:pt x="189" y="19"/>
                  </a:lnTo>
                  <a:lnTo>
                    <a:pt x="189" y="19"/>
                  </a:lnTo>
                  <a:lnTo>
                    <a:pt x="190" y="18"/>
                  </a:lnTo>
                  <a:lnTo>
                    <a:pt x="190" y="18"/>
                  </a:lnTo>
                  <a:lnTo>
                    <a:pt x="191" y="16"/>
                  </a:lnTo>
                  <a:lnTo>
                    <a:pt x="191" y="16"/>
                  </a:lnTo>
                  <a:lnTo>
                    <a:pt x="192" y="15"/>
                  </a:lnTo>
                  <a:lnTo>
                    <a:pt x="192" y="15"/>
                  </a:lnTo>
                  <a:lnTo>
                    <a:pt x="193" y="14"/>
                  </a:lnTo>
                  <a:lnTo>
                    <a:pt x="194" y="14"/>
                  </a:lnTo>
                  <a:lnTo>
                    <a:pt x="195" y="14"/>
                  </a:lnTo>
                  <a:lnTo>
                    <a:pt x="196" y="13"/>
                  </a:lnTo>
                  <a:lnTo>
                    <a:pt x="197" y="12"/>
                  </a:lnTo>
                  <a:lnTo>
                    <a:pt x="198" y="11"/>
                  </a:lnTo>
                  <a:lnTo>
                    <a:pt x="199" y="10"/>
                  </a:lnTo>
                  <a:lnTo>
                    <a:pt x="201" y="8"/>
                  </a:lnTo>
                  <a:lnTo>
                    <a:pt x="204" y="6"/>
                  </a:lnTo>
                  <a:lnTo>
                    <a:pt x="205" y="5"/>
                  </a:lnTo>
                  <a:lnTo>
                    <a:pt x="206" y="5"/>
                  </a:lnTo>
                  <a:lnTo>
                    <a:pt x="207" y="4"/>
                  </a:lnTo>
                  <a:lnTo>
                    <a:pt x="209" y="3"/>
                  </a:lnTo>
                  <a:lnTo>
                    <a:pt x="210" y="2"/>
                  </a:lnTo>
                  <a:lnTo>
                    <a:pt x="211" y="1"/>
                  </a:lnTo>
                  <a:lnTo>
                    <a:pt x="213" y="1"/>
                  </a:lnTo>
                  <a:lnTo>
                    <a:pt x="215" y="0"/>
                  </a:lnTo>
                </a:path>
              </a:pathLst>
            </a:custGeom>
            <a:grpFill/>
            <a:ln w="3175" cap="flat" cmpd="sng">
              <a:solidFill>
                <a:schemeClr val="accent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algn="ctr" defTabSz="781394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800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47" name="Freeform 9"/>
            <p:cNvSpPr>
              <a:spLocks/>
            </p:cNvSpPr>
            <p:nvPr/>
          </p:nvSpPr>
          <p:spPr bwMode="auto">
            <a:xfrm>
              <a:off x="57279" y="3112806"/>
              <a:ext cx="1366857" cy="884285"/>
            </a:xfrm>
            <a:custGeom>
              <a:avLst/>
              <a:gdLst/>
              <a:ahLst/>
              <a:cxnLst>
                <a:cxn ang="0">
                  <a:pos x="142" y="5"/>
                </a:cxn>
                <a:cxn ang="0">
                  <a:pos x="152" y="18"/>
                </a:cxn>
                <a:cxn ang="0">
                  <a:pos x="160" y="17"/>
                </a:cxn>
                <a:cxn ang="0">
                  <a:pos x="164" y="26"/>
                </a:cxn>
                <a:cxn ang="0">
                  <a:pos x="163" y="42"/>
                </a:cxn>
                <a:cxn ang="0">
                  <a:pos x="167" y="48"/>
                </a:cxn>
                <a:cxn ang="0">
                  <a:pos x="162" y="56"/>
                </a:cxn>
                <a:cxn ang="0">
                  <a:pos x="161" y="77"/>
                </a:cxn>
                <a:cxn ang="0">
                  <a:pos x="177" y="89"/>
                </a:cxn>
                <a:cxn ang="0">
                  <a:pos x="183" y="104"/>
                </a:cxn>
                <a:cxn ang="0">
                  <a:pos x="177" y="109"/>
                </a:cxn>
                <a:cxn ang="0">
                  <a:pos x="162" y="97"/>
                </a:cxn>
                <a:cxn ang="0">
                  <a:pos x="157" y="99"/>
                </a:cxn>
                <a:cxn ang="0">
                  <a:pos x="141" y="95"/>
                </a:cxn>
                <a:cxn ang="0">
                  <a:pos x="123" y="98"/>
                </a:cxn>
                <a:cxn ang="0">
                  <a:pos x="116" y="93"/>
                </a:cxn>
                <a:cxn ang="0">
                  <a:pos x="118" y="88"/>
                </a:cxn>
                <a:cxn ang="0">
                  <a:pos x="117" y="80"/>
                </a:cxn>
                <a:cxn ang="0">
                  <a:pos x="115" y="69"/>
                </a:cxn>
                <a:cxn ang="0">
                  <a:pos x="110" y="65"/>
                </a:cxn>
                <a:cxn ang="0">
                  <a:pos x="103" y="63"/>
                </a:cxn>
                <a:cxn ang="0">
                  <a:pos x="98" y="66"/>
                </a:cxn>
                <a:cxn ang="0">
                  <a:pos x="94" y="65"/>
                </a:cxn>
                <a:cxn ang="0">
                  <a:pos x="90" y="63"/>
                </a:cxn>
                <a:cxn ang="0">
                  <a:pos x="87" y="59"/>
                </a:cxn>
                <a:cxn ang="0">
                  <a:pos x="83" y="57"/>
                </a:cxn>
                <a:cxn ang="0">
                  <a:pos x="80" y="55"/>
                </a:cxn>
                <a:cxn ang="0">
                  <a:pos x="70" y="55"/>
                </a:cxn>
                <a:cxn ang="0">
                  <a:pos x="65" y="58"/>
                </a:cxn>
                <a:cxn ang="0">
                  <a:pos x="60" y="59"/>
                </a:cxn>
                <a:cxn ang="0">
                  <a:pos x="55" y="60"/>
                </a:cxn>
                <a:cxn ang="0">
                  <a:pos x="50" y="62"/>
                </a:cxn>
                <a:cxn ang="0">
                  <a:pos x="42" y="65"/>
                </a:cxn>
                <a:cxn ang="0">
                  <a:pos x="27" y="65"/>
                </a:cxn>
                <a:cxn ang="0">
                  <a:pos x="20" y="60"/>
                </a:cxn>
                <a:cxn ang="0">
                  <a:pos x="24" y="58"/>
                </a:cxn>
                <a:cxn ang="0">
                  <a:pos x="30" y="60"/>
                </a:cxn>
                <a:cxn ang="0">
                  <a:pos x="29" y="51"/>
                </a:cxn>
                <a:cxn ang="0">
                  <a:pos x="28" y="42"/>
                </a:cxn>
                <a:cxn ang="0">
                  <a:pos x="26" y="34"/>
                </a:cxn>
                <a:cxn ang="0">
                  <a:pos x="23" y="27"/>
                </a:cxn>
                <a:cxn ang="0">
                  <a:pos x="16" y="20"/>
                </a:cxn>
                <a:cxn ang="0">
                  <a:pos x="11" y="18"/>
                </a:cxn>
                <a:cxn ang="0">
                  <a:pos x="7" y="16"/>
                </a:cxn>
                <a:cxn ang="0">
                  <a:pos x="2" y="17"/>
                </a:cxn>
                <a:cxn ang="0">
                  <a:pos x="0" y="11"/>
                </a:cxn>
                <a:cxn ang="0">
                  <a:pos x="2" y="5"/>
                </a:cxn>
                <a:cxn ang="0">
                  <a:pos x="16" y="7"/>
                </a:cxn>
                <a:cxn ang="0">
                  <a:pos x="27" y="6"/>
                </a:cxn>
                <a:cxn ang="0">
                  <a:pos x="46" y="13"/>
                </a:cxn>
                <a:cxn ang="0">
                  <a:pos x="60" y="14"/>
                </a:cxn>
                <a:cxn ang="0">
                  <a:pos x="69" y="8"/>
                </a:cxn>
                <a:cxn ang="0">
                  <a:pos x="86" y="5"/>
                </a:cxn>
                <a:cxn ang="0">
                  <a:pos x="100" y="4"/>
                </a:cxn>
                <a:cxn ang="0">
                  <a:pos x="105" y="7"/>
                </a:cxn>
                <a:cxn ang="0">
                  <a:pos x="113" y="16"/>
                </a:cxn>
                <a:cxn ang="0">
                  <a:pos x="120" y="9"/>
                </a:cxn>
                <a:cxn ang="0">
                  <a:pos x="123" y="3"/>
                </a:cxn>
                <a:cxn ang="0">
                  <a:pos x="133" y="2"/>
                </a:cxn>
              </a:cxnLst>
              <a:rect l="0" t="0" r="r" b="b"/>
              <a:pathLst>
                <a:path w="183" h="110">
                  <a:moveTo>
                    <a:pt x="138" y="2"/>
                  </a:moveTo>
                  <a:lnTo>
                    <a:pt x="138" y="2"/>
                  </a:lnTo>
                  <a:lnTo>
                    <a:pt x="138" y="2"/>
                  </a:lnTo>
                  <a:lnTo>
                    <a:pt x="138" y="3"/>
                  </a:lnTo>
                  <a:lnTo>
                    <a:pt x="138" y="3"/>
                  </a:lnTo>
                  <a:lnTo>
                    <a:pt x="139" y="3"/>
                  </a:lnTo>
                  <a:lnTo>
                    <a:pt x="140" y="4"/>
                  </a:lnTo>
                  <a:lnTo>
                    <a:pt x="140" y="4"/>
                  </a:lnTo>
                  <a:lnTo>
                    <a:pt x="141" y="4"/>
                  </a:lnTo>
                  <a:lnTo>
                    <a:pt x="142" y="4"/>
                  </a:lnTo>
                  <a:lnTo>
                    <a:pt x="142" y="5"/>
                  </a:lnTo>
                  <a:lnTo>
                    <a:pt x="143" y="5"/>
                  </a:lnTo>
                  <a:lnTo>
                    <a:pt x="144" y="6"/>
                  </a:lnTo>
                  <a:lnTo>
                    <a:pt x="145" y="7"/>
                  </a:lnTo>
                  <a:lnTo>
                    <a:pt x="146" y="9"/>
                  </a:lnTo>
                  <a:lnTo>
                    <a:pt x="146" y="10"/>
                  </a:lnTo>
                  <a:lnTo>
                    <a:pt x="148" y="12"/>
                  </a:lnTo>
                  <a:lnTo>
                    <a:pt x="148" y="14"/>
                  </a:lnTo>
                  <a:lnTo>
                    <a:pt x="149" y="15"/>
                  </a:lnTo>
                  <a:lnTo>
                    <a:pt x="150" y="16"/>
                  </a:lnTo>
                  <a:lnTo>
                    <a:pt x="151" y="17"/>
                  </a:lnTo>
                  <a:lnTo>
                    <a:pt x="152" y="18"/>
                  </a:lnTo>
                  <a:lnTo>
                    <a:pt x="152" y="18"/>
                  </a:lnTo>
                  <a:lnTo>
                    <a:pt x="153" y="18"/>
                  </a:lnTo>
                  <a:lnTo>
                    <a:pt x="153" y="18"/>
                  </a:lnTo>
                  <a:lnTo>
                    <a:pt x="154" y="18"/>
                  </a:lnTo>
                  <a:lnTo>
                    <a:pt x="154" y="17"/>
                  </a:lnTo>
                  <a:lnTo>
                    <a:pt x="155" y="17"/>
                  </a:lnTo>
                  <a:lnTo>
                    <a:pt x="156" y="17"/>
                  </a:lnTo>
                  <a:lnTo>
                    <a:pt x="157" y="17"/>
                  </a:lnTo>
                  <a:lnTo>
                    <a:pt x="158" y="17"/>
                  </a:lnTo>
                  <a:lnTo>
                    <a:pt x="159" y="17"/>
                  </a:lnTo>
                  <a:lnTo>
                    <a:pt x="160" y="17"/>
                  </a:lnTo>
                  <a:lnTo>
                    <a:pt x="161" y="18"/>
                  </a:lnTo>
                  <a:lnTo>
                    <a:pt x="162" y="18"/>
                  </a:lnTo>
                  <a:lnTo>
                    <a:pt x="163" y="19"/>
                  </a:lnTo>
                  <a:lnTo>
                    <a:pt x="164" y="19"/>
                  </a:lnTo>
                  <a:lnTo>
                    <a:pt x="165" y="20"/>
                  </a:lnTo>
                  <a:lnTo>
                    <a:pt x="165" y="20"/>
                  </a:lnTo>
                  <a:lnTo>
                    <a:pt x="166" y="21"/>
                  </a:lnTo>
                  <a:lnTo>
                    <a:pt x="166" y="21"/>
                  </a:lnTo>
                  <a:lnTo>
                    <a:pt x="166" y="22"/>
                  </a:lnTo>
                  <a:lnTo>
                    <a:pt x="165" y="24"/>
                  </a:lnTo>
                  <a:lnTo>
                    <a:pt x="164" y="26"/>
                  </a:lnTo>
                  <a:lnTo>
                    <a:pt x="164" y="28"/>
                  </a:lnTo>
                  <a:lnTo>
                    <a:pt x="163" y="30"/>
                  </a:lnTo>
                  <a:lnTo>
                    <a:pt x="163" y="31"/>
                  </a:lnTo>
                  <a:lnTo>
                    <a:pt x="163" y="32"/>
                  </a:lnTo>
                  <a:lnTo>
                    <a:pt x="163" y="33"/>
                  </a:lnTo>
                  <a:lnTo>
                    <a:pt x="162" y="35"/>
                  </a:lnTo>
                  <a:lnTo>
                    <a:pt x="162" y="36"/>
                  </a:lnTo>
                  <a:lnTo>
                    <a:pt x="162" y="37"/>
                  </a:lnTo>
                  <a:lnTo>
                    <a:pt x="163" y="39"/>
                  </a:lnTo>
                  <a:lnTo>
                    <a:pt x="163" y="40"/>
                  </a:lnTo>
                  <a:lnTo>
                    <a:pt x="163" y="42"/>
                  </a:lnTo>
                  <a:lnTo>
                    <a:pt x="163" y="42"/>
                  </a:lnTo>
                  <a:lnTo>
                    <a:pt x="163" y="43"/>
                  </a:lnTo>
                  <a:lnTo>
                    <a:pt x="164" y="43"/>
                  </a:lnTo>
                  <a:lnTo>
                    <a:pt x="164" y="44"/>
                  </a:lnTo>
                  <a:lnTo>
                    <a:pt x="165" y="45"/>
                  </a:lnTo>
                  <a:lnTo>
                    <a:pt x="166" y="46"/>
                  </a:lnTo>
                  <a:lnTo>
                    <a:pt x="166" y="46"/>
                  </a:lnTo>
                  <a:lnTo>
                    <a:pt x="166" y="47"/>
                  </a:lnTo>
                  <a:lnTo>
                    <a:pt x="167" y="47"/>
                  </a:lnTo>
                  <a:lnTo>
                    <a:pt x="167" y="48"/>
                  </a:lnTo>
                  <a:lnTo>
                    <a:pt x="167" y="48"/>
                  </a:lnTo>
                  <a:lnTo>
                    <a:pt x="167" y="49"/>
                  </a:lnTo>
                  <a:lnTo>
                    <a:pt x="167" y="49"/>
                  </a:lnTo>
                  <a:lnTo>
                    <a:pt x="166" y="50"/>
                  </a:lnTo>
                  <a:lnTo>
                    <a:pt x="166" y="51"/>
                  </a:lnTo>
                  <a:lnTo>
                    <a:pt x="165" y="51"/>
                  </a:lnTo>
                  <a:lnTo>
                    <a:pt x="164" y="52"/>
                  </a:lnTo>
                  <a:lnTo>
                    <a:pt x="164" y="53"/>
                  </a:lnTo>
                  <a:lnTo>
                    <a:pt x="163" y="54"/>
                  </a:lnTo>
                  <a:lnTo>
                    <a:pt x="163" y="54"/>
                  </a:lnTo>
                  <a:lnTo>
                    <a:pt x="163" y="55"/>
                  </a:lnTo>
                  <a:lnTo>
                    <a:pt x="162" y="56"/>
                  </a:lnTo>
                  <a:lnTo>
                    <a:pt x="162" y="58"/>
                  </a:lnTo>
                  <a:lnTo>
                    <a:pt x="161" y="59"/>
                  </a:lnTo>
                  <a:lnTo>
                    <a:pt x="161" y="61"/>
                  </a:lnTo>
                  <a:lnTo>
                    <a:pt x="161" y="62"/>
                  </a:lnTo>
                  <a:lnTo>
                    <a:pt x="161" y="64"/>
                  </a:lnTo>
                  <a:lnTo>
                    <a:pt x="161" y="66"/>
                  </a:lnTo>
                  <a:lnTo>
                    <a:pt x="161" y="68"/>
                  </a:lnTo>
                  <a:lnTo>
                    <a:pt x="161" y="70"/>
                  </a:lnTo>
                  <a:lnTo>
                    <a:pt x="161" y="72"/>
                  </a:lnTo>
                  <a:lnTo>
                    <a:pt x="161" y="75"/>
                  </a:lnTo>
                  <a:lnTo>
                    <a:pt x="161" y="77"/>
                  </a:lnTo>
                  <a:lnTo>
                    <a:pt x="161" y="80"/>
                  </a:lnTo>
                  <a:lnTo>
                    <a:pt x="163" y="81"/>
                  </a:lnTo>
                  <a:lnTo>
                    <a:pt x="164" y="82"/>
                  </a:lnTo>
                  <a:lnTo>
                    <a:pt x="165" y="83"/>
                  </a:lnTo>
                  <a:lnTo>
                    <a:pt x="167" y="84"/>
                  </a:lnTo>
                  <a:lnTo>
                    <a:pt x="168" y="84"/>
                  </a:lnTo>
                  <a:lnTo>
                    <a:pt x="170" y="85"/>
                  </a:lnTo>
                  <a:lnTo>
                    <a:pt x="173" y="87"/>
                  </a:lnTo>
                  <a:lnTo>
                    <a:pt x="174" y="87"/>
                  </a:lnTo>
                  <a:lnTo>
                    <a:pt x="176" y="88"/>
                  </a:lnTo>
                  <a:lnTo>
                    <a:pt x="177" y="89"/>
                  </a:lnTo>
                  <a:lnTo>
                    <a:pt x="179" y="90"/>
                  </a:lnTo>
                  <a:lnTo>
                    <a:pt x="180" y="91"/>
                  </a:lnTo>
                  <a:lnTo>
                    <a:pt x="181" y="92"/>
                  </a:lnTo>
                  <a:lnTo>
                    <a:pt x="182" y="94"/>
                  </a:lnTo>
                  <a:lnTo>
                    <a:pt x="183" y="95"/>
                  </a:lnTo>
                  <a:lnTo>
                    <a:pt x="183" y="96"/>
                  </a:lnTo>
                  <a:lnTo>
                    <a:pt x="183" y="97"/>
                  </a:lnTo>
                  <a:lnTo>
                    <a:pt x="183" y="99"/>
                  </a:lnTo>
                  <a:lnTo>
                    <a:pt x="183" y="101"/>
                  </a:lnTo>
                  <a:lnTo>
                    <a:pt x="183" y="103"/>
                  </a:lnTo>
                  <a:lnTo>
                    <a:pt x="183" y="104"/>
                  </a:lnTo>
                  <a:lnTo>
                    <a:pt x="183" y="105"/>
                  </a:lnTo>
                  <a:lnTo>
                    <a:pt x="183" y="106"/>
                  </a:lnTo>
                  <a:lnTo>
                    <a:pt x="183" y="107"/>
                  </a:lnTo>
                  <a:lnTo>
                    <a:pt x="182" y="108"/>
                  </a:lnTo>
                  <a:lnTo>
                    <a:pt x="182" y="109"/>
                  </a:lnTo>
                  <a:lnTo>
                    <a:pt x="182" y="109"/>
                  </a:lnTo>
                  <a:lnTo>
                    <a:pt x="181" y="110"/>
                  </a:lnTo>
                  <a:lnTo>
                    <a:pt x="180" y="110"/>
                  </a:lnTo>
                  <a:lnTo>
                    <a:pt x="179" y="110"/>
                  </a:lnTo>
                  <a:lnTo>
                    <a:pt x="178" y="110"/>
                  </a:lnTo>
                  <a:lnTo>
                    <a:pt x="177" y="109"/>
                  </a:lnTo>
                  <a:lnTo>
                    <a:pt x="175" y="109"/>
                  </a:lnTo>
                  <a:lnTo>
                    <a:pt x="174" y="108"/>
                  </a:lnTo>
                  <a:lnTo>
                    <a:pt x="172" y="107"/>
                  </a:lnTo>
                  <a:lnTo>
                    <a:pt x="171" y="107"/>
                  </a:lnTo>
                  <a:lnTo>
                    <a:pt x="169" y="106"/>
                  </a:lnTo>
                  <a:lnTo>
                    <a:pt x="168" y="105"/>
                  </a:lnTo>
                  <a:lnTo>
                    <a:pt x="167" y="103"/>
                  </a:lnTo>
                  <a:lnTo>
                    <a:pt x="166" y="102"/>
                  </a:lnTo>
                  <a:lnTo>
                    <a:pt x="165" y="101"/>
                  </a:lnTo>
                  <a:lnTo>
                    <a:pt x="164" y="100"/>
                  </a:lnTo>
                  <a:lnTo>
                    <a:pt x="162" y="97"/>
                  </a:lnTo>
                  <a:lnTo>
                    <a:pt x="161" y="96"/>
                  </a:lnTo>
                  <a:lnTo>
                    <a:pt x="160" y="95"/>
                  </a:lnTo>
                  <a:lnTo>
                    <a:pt x="159" y="95"/>
                  </a:lnTo>
                  <a:lnTo>
                    <a:pt x="159" y="95"/>
                  </a:lnTo>
                  <a:lnTo>
                    <a:pt x="158" y="95"/>
                  </a:lnTo>
                  <a:lnTo>
                    <a:pt x="158" y="96"/>
                  </a:lnTo>
                  <a:lnTo>
                    <a:pt x="158" y="96"/>
                  </a:lnTo>
                  <a:lnTo>
                    <a:pt x="158" y="97"/>
                  </a:lnTo>
                  <a:lnTo>
                    <a:pt x="157" y="98"/>
                  </a:lnTo>
                  <a:lnTo>
                    <a:pt x="157" y="98"/>
                  </a:lnTo>
                  <a:lnTo>
                    <a:pt x="157" y="99"/>
                  </a:lnTo>
                  <a:lnTo>
                    <a:pt x="156" y="99"/>
                  </a:lnTo>
                  <a:lnTo>
                    <a:pt x="156" y="100"/>
                  </a:lnTo>
                  <a:lnTo>
                    <a:pt x="156" y="100"/>
                  </a:lnTo>
                  <a:lnTo>
                    <a:pt x="155" y="100"/>
                  </a:lnTo>
                  <a:lnTo>
                    <a:pt x="155" y="100"/>
                  </a:lnTo>
                  <a:lnTo>
                    <a:pt x="151" y="99"/>
                  </a:lnTo>
                  <a:lnTo>
                    <a:pt x="148" y="98"/>
                  </a:lnTo>
                  <a:lnTo>
                    <a:pt x="146" y="97"/>
                  </a:lnTo>
                  <a:lnTo>
                    <a:pt x="144" y="96"/>
                  </a:lnTo>
                  <a:lnTo>
                    <a:pt x="143" y="96"/>
                  </a:lnTo>
                  <a:lnTo>
                    <a:pt x="141" y="95"/>
                  </a:lnTo>
                  <a:lnTo>
                    <a:pt x="139" y="96"/>
                  </a:lnTo>
                  <a:lnTo>
                    <a:pt x="136" y="97"/>
                  </a:lnTo>
                  <a:lnTo>
                    <a:pt x="135" y="97"/>
                  </a:lnTo>
                  <a:lnTo>
                    <a:pt x="134" y="97"/>
                  </a:lnTo>
                  <a:lnTo>
                    <a:pt x="132" y="98"/>
                  </a:lnTo>
                  <a:lnTo>
                    <a:pt x="131" y="98"/>
                  </a:lnTo>
                  <a:lnTo>
                    <a:pt x="129" y="98"/>
                  </a:lnTo>
                  <a:lnTo>
                    <a:pt x="128" y="98"/>
                  </a:lnTo>
                  <a:lnTo>
                    <a:pt x="126" y="98"/>
                  </a:lnTo>
                  <a:lnTo>
                    <a:pt x="125" y="98"/>
                  </a:lnTo>
                  <a:lnTo>
                    <a:pt x="123" y="98"/>
                  </a:lnTo>
                  <a:lnTo>
                    <a:pt x="121" y="98"/>
                  </a:lnTo>
                  <a:lnTo>
                    <a:pt x="120" y="98"/>
                  </a:lnTo>
                  <a:lnTo>
                    <a:pt x="118" y="98"/>
                  </a:lnTo>
                  <a:lnTo>
                    <a:pt x="118" y="97"/>
                  </a:lnTo>
                  <a:lnTo>
                    <a:pt x="117" y="97"/>
                  </a:lnTo>
                  <a:lnTo>
                    <a:pt x="117" y="96"/>
                  </a:lnTo>
                  <a:lnTo>
                    <a:pt x="117" y="95"/>
                  </a:lnTo>
                  <a:lnTo>
                    <a:pt x="116" y="95"/>
                  </a:lnTo>
                  <a:lnTo>
                    <a:pt x="116" y="94"/>
                  </a:lnTo>
                  <a:lnTo>
                    <a:pt x="116" y="93"/>
                  </a:lnTo>
                  <a:lnTo>
                    <a:pt x="116" y="93"/>
                  </a:lnTo>
                  <a:lnTo>
                    <a:pt x="116" y="92"/>
                  </a:lnTo>
                  <a:lnTo>
                    <a:pt x="116" y="91"/>
                  </a:lnTo>
                  <a:lnTo>
                    <a:pt x="117" y="91"/>
                  </a:lnTo>
                  <a:lnTo>
                    <a:pt x="117" y="91"/>
                  </a:lnTo>
                  <a:lnTo>
                    <a:pt x="117" y="91"/>
                  </a:lnTo>
                  <a:lnTo>
                    <a:pt x="117" y="91"/>
                  </a:lnTo>
                  <a:lnTo>
                    <a:pt x="118" y="90"/>
                  </a:lnTo>
                  <a:lnTo>
                    <a:pt x="118" y="90"/>
                  </a:lnTo>
                  <a:lnTo>
                    <a:pt x="118" y="89"/>
                  </a:lnTo>
                  <a:lnTo>
                    <a:pt x="118" y="89"/>
                  </a:lnTo>
                  <a:lnTo>
                    <a:pt x="118" y="88"/>
                  </a:lnTo>
                  <a:lnTo>
                    <a:pt x="118" y="87"/>
                  </a:lnTo>
                  <a:lnTo>
                    <a:pt x="118" y="85"/>
                  </a:lnTo>
                  <a:lnTo>
                    <a:pt x="118" y="83"/>
                  </a:lnTo>
                  <a:lnTo>
                    <a:pt x="118" y="82"/>
                  </a:lnTo>
                  <a:lnTo>
                    <a:pt x="118" y="81"/>
                  </a:lnTo>
                  <a:lnTo>
                    <a:pt x="118" y="81"/>
                  </a:lnTo>
                  <a:lnTo>
                    <a:pt x="118" y="81"/>
                  </a:lnTo>
                  <a:lnTo>
                    <a:pt x="118" y="80"/>
                  </a:lnTo>
                  <a:lnTo>
                    <a:pt x="117" y="80"/>
                  </a:lnTo>
                  <a:lnTo>
                    <a:pt x="117" y="80"/>
                  </a:lnTo>
                  <a:lnTo>
                    <a:pt x="117" y="80"/>
                  </a:lnTo>
                  <a:lnTo>
                    <a:pt x="116" y="80"/>
                  </a:lnTo>
                  <a:lnTo>
                    <a:pt x="116" y="77"/>
                  </a:lnTo>
                  <a:lnTo>
                    <a:pt x="116" y="76"/>
                  </a:lnTo>
                  <a:lnTo>
                    <a:pt x="116" y="75"/>
                  </a:lnTo>
                  <a:lnTo>
                    <a:pt x="116" y="74"/>
                  </a:lnTo>
                  <a:lnTo>
                    <a:pt x="116" y="73"/>
                  </a:lnTo>
                  <a:lnTo>
                    <a:pt x="116" y="72"/>
                  </a:lnTo>
                  <a:lnTo>
                    <a:pt x="116" y="71"/>
                  </a:lnTo>
                  <a:lnTo>
                    <a:pt x="116" y="70"/>
                  </a:lnTo>
                  <a:lnTo>
                    <a:pt x="115" y="70"/>
                  </a:lnTo>
                  <a:lnTo>
                    <a:pt x="115" y="69"/>
                  </a:lnTo>
                  <a:lnTo>
                    <a:pt x="114" y="68"/>
                  </a:lnTo>
                  <a:lnTo>
                    <a:pt x="114" y="68"/>
                  </a:lnTo>
                  <a:lnTo>
                    <a:pt x="113" y="67"/>
                  </a:lnTo>
                  <a:lnTo>
                    <a:pt x="112" y="67"/>
                  </a:lnTo>
                  <a:lnTo>
                    <a:pt x="111" y="67"/>
                  </a:lnTo>
                  <a:lnTo>
                    <a:pt x="111" y="66"/>
                  </a:lnTo>
                  <a:lnTo>
                    <a:pt x="111" y="66"/>
                  </a:lnTo>
                  <a:lnTo>
                    <a:pt x="111" y="65"/>
                  </a:lnTo>
                  <a:lnTo>
                    <a:pt x="111" y="65"/>
                  </a:lnTo>
                  <a:lnTo>
                    <a:pt x="111" y="65"/>
                  </a:lnTo>
                  <a:lnTo>
                    <a:pt x="110" y="65"/>
                  </a:lnTo>
                  <a:lnTo>
                    <a:pt x="110" y="65"/>
                  </a:lnTo>
                  <a:lnTo>
                    <a:pt x="110" y="65"/>
                  </a:lnTo>
                  <a:lnTo>
                    <a:pt x="109" y="65"/>
                  </a:lnTo>
                  <a:lnTo>
                    <a:pt x="108" y="65"/>
                  </a:lnTo>
                  <a:lnTo>
                    <a:pt x="107" y="64"/>
                  </a:lnTo>
                  <a:lnTo>
                    <a:pt x="106" y="64"/>
                  </a:lnTo>
                  <a:lnTo>
                    <a:pt x="105" y="64"/>
                  </a:lnTo>
                  <a:lnTo>
                    <a:pt x="104" y="63"/>
                  </a:lnTo>
                  <a:lnTo>
                    <a:pt x="104" y="63"/>
                  </a:lnTo>
                  <a:lnTo>
                    <a:pt x="103" y="63"/>
                  </a:lnTo>
                  <a:lnTo>
                    <a:pt x="103" y="63"/>
                  </a:lnTo>
                  <a:lnTo>
                    <a:pt x="102" y="63"/>
                  </a:lnTo>
                  <a:lnTo>
                    <a:pt x="101" y="64"/>
                  </a:lnTo>
                  <a:lnTo>
                    <a:pt x="101" y="64"/>
                  </a:lnTo>
                  <a:lnTo>
                    <a:pt x="100" y="64"/>
                  </a:lnTo>
                  <a:lnTo>
                    <a:pt x="100" y="65"/>
                  </a:lnTo>
                  <a:lnTo>
                    <a:pt x="99" y="65"/>
                  </a:lnTo>
                  <a:lnTo>
                    <a:pt x="99" y="65"/>
                  </a:lnTo>
                  <a:lnTo>
                    <a:pt x="99" y="65"/>
                  </a:lnTo>
                  <a:lnTo>
                    <a:pt x="98" y="65"/>
                  </a:lnTo>
                  <a:lnTo>
                    <a:pt x="98" y="65"/>
                  </a:lnTo>
                  <a:lnTo>
                    <a:pt x="98" y="66"/>
                  </a:lnTo>
                  <a:lnTo>
                    <a:pt x="98" y="66"/>
                  </a:lnTo>
                  <a:lnTo>
                    <a:pt x="98" y="67"/>
                  </a:lnTo>
                  <a:lnTo>
                    <a:pt x="97" y="67"/>
                  </a:lnTo>
                  <a:lnTo>
                    <a:pt x="96" y="67"/>
                  </a:lnTo>
                  <a:lnTo>
                    <a:pt x="96" y="67"/>
                  </a:lnTo>
                  <a:lnTo>
                    <a:pt x="95" y="67"/>
                  </a:lnTo>
                  <a:lnTo>
                    <a:pt x="95" y="66"/>
                  </a:lnTo>
                  <a:lnTo>
                    <a:pt x="95" y="66"/>
                  </a:lnTo>
                  <a:lnTo>
                    <a:pt x="95" y="65"/>
                  </a:lnTo>
                  <a:lnTo>
                    <a:pt x="94" y="65"/>
                  </a:lnTo>
                  <a:lnTo>
                    <a:pt x="94" y="65"/>
                  </a:lnTo>
                  <a:lnTo>
                    <a:pt x="94" y="65"/>
                  </a:lnTo>
                  <a:lnTo>
                    <a:pt x="93" y="65"/>
                  </a:lnTo>
                  <a:lnTo>
                    <a:pt x="93" y="65"/>
                  </a:lnTo>
                  <a:lnTo>
                    <a:pt x="93" y="65"/>
                  </a:lnTo>
                  <a:lnTo>
                    <a:pt x="92" y="65"/>
                  </a:lnTo>
                  <a:lnTo>
                    <a:pt x="92" y="64"/>
                  </a:lnTo>
                  <a:lnTo>
                    <a:pt x="91" y="64"/>
                  </a:lnTo>
                  <a:lnTo>
                    <a:pt x="91" y="64"/>
                  </a:lnTo>
                  <a:lnTo>
                    <a:pt x="90" y="63"/>
                  </a:lnTo>
                  <a:lnTo>
                    <a:pt x="90" y="63"/>
                  </a:lnTo>
                  <a:lnTo>
                    <a:pt x="90" y="63"/>
                  </a:lnTo>
                  <a:lnTo>
                    <a:pt x="90" y="62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8" y="62"/>
                  </a:lnTo>
                  <a:lnTo>
                    <a:pt x="88" y="62"/>
                  </a:lnTo>
                  <a:lnTo>
                    <a:pt x="88" y="61"/>
                  </a:lnTo>
                  <a:lnTo>
                    <a:pt x="88" y="60"/>
                  </a:lnTo>
                  <a:lnTo>
                    <a:pt x="87" y="60"/>
                  </a:lnTo>
                  <a:lnTo>
                    <a:pt x="87" y="59"/>
                  </a:lnTo>
                  <a:lnTo>
                    <a:pt x="86" y="59"/>
                  </a:lnTo>
                  <a:lnTo>
                    <a:pt x="86" y="59"/>
                  </a:lnTo>
                  <a:lnTo>
                    <a:pt x="85" y="59"/>
                  </a:lnTo>
                  <a:lnTo>
                    <a:pt x="85" y="58"/>
                  </a:lnTo>
                  <a:lnTo>
                    <a:pt x="85" y="58"/>
                  </a:lnTo>
                  <a:lnTo>
                    <a:pt x="85" y="58"/>
                  </a:lnTo>
                  <a:lnTo>
                    <a:pt x="85" y="57"/>
                  </a:lnTo>
                  <a:lnTo>
                    <a:pt x="84" y="57"/>
                  </a:lnTo>
                  <a:lnTo>
                    <a:pt x="84" y="57"/>
                  </a:lnTo>
                  <a:lnTo>
                    <a:pt x="84" y="57"/>
                  </a:lnTo>
                  <a:lnTo>
                    <a:pt x="83" y="57"/>
                  </a:lnTo>
                  <a:lnTo>
                    <a:pt x="83" y="57"/>
                  </a:lnTo>
                  <a:lnTo>
                    <a:pt x="83" y="57"/>
                  </a:lnTo>
                  <a:lnTo>
                    <a:pt x="82" y="57"/>
                  </a:lnTo>
                  <a:lnTo>
                    <a:pt x="82" y="57"/>
                  </a:lnTo>
                  <a:lnTo>
                    <a:pt x="81" y="57"/>
                  </a:lnTo>
                  <a:lnTo>
                    <a:pt x="82" y="56"/>
                  </a:lnTo>
                  <a:lnTo>
                    <a:pt x="81" y="56"/>
                  </a:lnTo>
                  <a:lnTo>
                    <a:pt x="81" y="55"/>
                  </a:lnTo>
                  <a:lnTo>
                    <a:pt x="81" y="55"/>
                  </a:lnTo>
                  <a:lnTo>
                    <a:pt x="81" y="55"/>
                  </a:lnTo>
                  <a:lnTo>
                    <a:pt x="80" y="55"/>
                  </a:lnTo>
                  <a:lnTo>
                    <a:pt x="80" y="55"/>
                  </a:lnTo>
                  <a:lnTo>
                    <a:pt x="80" y="55"/>
                  </a:lnTo>
                  <a:lnTo>
                    <a:pt x="78" y="55"/>
                  </a:lnTo>
                  <a:lnTo>
                    <a:pt x="76" y="55"/>
                  </a:lnTo>
                  <a:lnTo>
                    <a:pt x="74" y="55"/>
                  </a:lnTo>
                  <a:lnTo>
                    <a:pt x="71" y="55"/>
                  </a:lnTo>
                  <a:lnTo>
                    <a:pt x="71" y="55"/>
                  </a:lnTo>
                  <a:lnTo>
                    <a:pt x="71" y="55"/>
                  </a:lnTo>
                  <a:lnTo>
                    <a:pt x="70" y="55"/>
                  </a:lnTo>
                  <a:lnTo>
                    <a:pt x="70" y="55"/>
                  </a:lnTo>
                  <a:lnTo>
                    <a:pt x="70" y="55"/>
                  </a:lnTo>
                  <a:lnTo>
                    <a:pt x="70" y="56"/>
                  </a:lnTo>
                  <a:lnTo>
                    <a:pt x="70" y="56"/>
                  </a:lnTo>
                  <a:lnTo>
                    <a:pt x="70" y="57"/>
                  </a:lnTo>
                  <a:lnTo>
                    <a:pt x="69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7" y="56"/>
                  </a:lnTo>
                  <a:lnTo>
                    <a:pt x="67" y="56"/>
                  </a:lnTo>
                  <a:lnTo>
                    <a:pt x="66" y="57"/>
                  </a:lnTo>
                  <a:lnTo>
                    <a:pt x="65" y="57"/>
                  </a:lnTo>
                  <a:lnTo>
                    <a:pt x="65" y="58"/>
                  </a:lnTo>
                  <a:lnTo>
                    <a:pt x="64" y="58"/>
                  </a:lnTo>
                  <a:lnTo>
                    <a:pt x="64" y="58"/>
                  </a:lnTo>
                  <a:lnTo>
                    <a:pt x="63" y="58"/>
                  </a:lnTo>
                  <a:lnTo>
                    <a:pt x="63" y="58"/>
                  </a:lnTo>
                  <a:lnTo>
                    <a:pt x="62" y="58"/>
                  </a:lnTo>
                  <a:lnTo>
                    <a:pt x="61" y="58"/>
                  </a:lnTo>
                  <a:lnTo>
                    <a:pt x="61" y="58"/>
                  </a:lnTo>
                  <a:lnTo>
                    <a:pt x="61" y="58"/>
                  </a:lnTo>
                  <a:lnTo>
                    <a:pt x="60" y="58"/>
                  </a:lnTo>
                  <a:lnTo>
                    <a:pt x="60" y="59"/>
                  </a:lnTo>
                  <a:lnTo>
                    <a:pt x="60" y="59"/>
                  </a:lnTo>
                  <a:lnTo>
                    <a:pt x="60" y="59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59" y="60"/>
                  </a:lnTo>
                  <a:lnTo>
                    <a:pt x="58" y="60"/>
                  </a:lnTo>
                  <a:lnTo>
                    <a:pt x="57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5" y="60"/>
                  </a:lnTo>
                  <a:lnTo>
                    <a:pt x="55" y="60"/>
                  </a:lnTo>
                  <a:lnTo>
                    <a:pt x="55" y="60"/>
                  </a:lnTo>
                  <a:lnTo>
                    <a:pt x="55" y="61"/>
                  </a:lnTo>
                  <a:lnTo>
                    <a:pt x="55" y="61"/>
                  </a:lnTo>
                  <a:lnTo>
                    <a:pt x="55" y="62"/>
                  </a:lnTo>
                  <a:lnTo>
                    <a:pt x="54" y="62"/>
                  </a:lnTo>
                  <a:lnTo>
                    <a:pt x="53" y="62"/>
                  </a:lnTo>
                  <a:lnTo>
                    <a:pt x="52" y="62"/>
                  </a:lnTo>
                  <a:lnTo>
                    <a:pt x="51" y="62"/>
                  </a:lnTo>
                  <a:lnTo>
                    <a:pt x="51" y="61"/>
                  </a:lnTo>
                  <a:lnTo>
                    <a:pt x="51" y="61"/>
                  </a:lnTo>
                  <a:lnTo>
                    <a:pt x="50" y="62"/>
                  </a:lnTo>
                  <a:lnTo>
                    <a:pt x="50" y="62"/>
                  </a:lnTo>
                  <a:lnTo>
                    <a:pt x="50" y="62"/>
                  </a:lnTo>
                  <a:lnTo>
                    <a:pt x="50" y="62"/>
                  </a:lnTo>
                  <a:lnTo>
                    <a:pt x="50" y="63"/>
                  </a:lnTo>
                  <a:lnTo>
                    <a:pt x="50" y="63"/>
                  </a:lnTo>
                  <a:lnTo>
                    <a:pt x="49" y="64"/>
                  </a:lnTo>
                  <a:lnTo>
                    <a:pt x="48" y="64"/>
                  </a:lnTo>
                  <a:lnTo>
                    <a:pt x="46" y="64"/>
                  </a:lnTo>
                  <a:lnTo>
                    <a:pt x="45" y="65"/>
                  </a:lnTo>
                  <a:lnTo>
                    <a:pt x="43" y="65"/>
                  </a:lnTo>
                  <a:lnTo>
                    <a:pt x="42" y="65"/>
                  </a:lnTo>
                  <a:lnTo>
                    <a:pt x="39" y="65"/>
                  </a:lnTo>
                  <a:lnTo>
                    <a:pt x="36" y="65"/>
                  </a:lnTo>
                  <a:lnTo>
                    <a:pt x="35" y="65"/>
                  </a:lnTo>
                  <a:lnTo>
                    <a:pt x="33" y="65"/>
                  </a:lnTo>
                  <a:lnTo>
                    <a:pt x="32" y="65"/>
                  </a:lnTo>
                  <a:lnTo>
                    <a:pt x="30" y="66"/>
                  </a:lnTo>
                  <a:lnTo>
                    <a:pt x="29" y="66"/>
                  </a:lnTo>
                  <a:lnTo>
                    <a:pt x="28" y="67"/>
                  </a:lnTo>
                  <a:lnTo>
                    <a:pt x="28" y="66"/>
                  </a:lnTo>
                  <a:lnTo>
                    <a:pt x="28" y="65"/>
                  </a:lnTo>
                  <a:lnTo>
                    <a:pt x="27" y="65"/>
                  </a:lnTo>
                  <a:lnTo>
                    <a:pt x="27" y="64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5" y="64"/>
                  </a:lnTo>
                  <a:lnTo>
                    <a:pt x="25" y="63"/>
                  </a:lnTo>
                  <a:lnTo>
                    <a:pt x="24" y="63"/>
                  </a:lnTo>
                  <a:lnTo>
                    <a:pt x="23" y="62"/>
                  </a:lnTo>
                  <a:lnTo>
                    <a:pt x="22" y="62"/>
                  </a:lnTo>
                  <a:lnTo>
                    <a:pt x="21" y="61"/>
                  </a:lnTo>
                  <a:lnTo>
                    <a:pt x="21" y="61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8"/>
                  </a:lnTo>
                  <a:lnTo>
                    <a:pt x="20" y="57"/>
                  </a:lnTo>
                  <a:lnTo>
                    <a:pt x="20" y="57"/>
                  </a:lnTo>
                  <a:lnTo>
                    <a:pt x="21" y="57"/>
                  </a:lnTo>
                  <a:lnTo>
                    <a:pt x="21" y="57"/>
                  </a:lnTo>
                  <a:lnTo>
                    <a:pt x="22" y="57"/>
                  </a:lnTo>
                  <a:lnTo>
                    <a:pt x="23" y="58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5" y="59"/>
                  </a:lnTo>
                  <a:lnTo>
                    <a:pt x="26" y="59"/>
                  </a:lnTo>
                  <a:lnTo>
                    <a:pt x="26" y="60"/>
                  </a:lnTo>
                  <a:lnTo>
                    <a:pt x="27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9" y="60"/>
                  </a:lnTo>
                  <a:lnTo>
                    <a:pt x="29" y="60"/>
                  </a:lnTo>
                  <a:lnTo>
                    <a:pt x="29" y="60"/>
                  </a:lnTo>
                  <a:lnTo>
                    <a:pt x="30" y="60"/>
                  </a:lnTo>
                  <a:lnTo>
                    <a:pt x="30" y="59"/>
                  </a:lnTo>
                  <a:lnTo>
                    <a:pt x="31" y="59"/>
                  </a:lnTo>
                  <a:lnTo>
                    <a:pt x="31" y="59"/>
                  </a:lnTo>
                  <a:lnTo>
                    <a:pt x="31" y="58"/>
                  </a:lnTo>
                  <a:lnTo>
                    <a:pt x="31" y="57"/>
                  </a:lnTo>
                  <a:lnTo>
                    <a:pt x="31" y="56"/>
                  </a:lnTo>
                  <a:lnTo>
                    <a:pt x="31" y="55"/>
                  </a:lnTo>
                  <a:lnTo>
                    <a:pt x="31" y="54"/>
                  </a:lnTo>
                  <a:lnTo>
                    <a:pt x="31" y="53"/>
                  </a:lnTo>
                  <a:lnTo>
                    <a:pt x="30" y="52"/>
                  </a:lnTo>
                  <a:lnTo>
                    <a:pt x="29" y="51"/>
                  </a:lnTo>
                  <a:lnTo>
                    <a:pt x="29" y="50"/>
                  </a:lnTo>
                  <a:lnTo>
                    <a:pt x="29" y="49"/>
                  </a:lnTo>
                  <a:lnTo>
                    <a:pt x="28" y="49"/>
                  </a:lnTo>
                  <a:lnTo>
                    <a:pt x="28" y="48"/>
                  </a:lnTo>
                  <a:lnTo>
                    <a:pt x="28" y="47"/>
                  </a:lnTo>
                  <a:lnTo>
                    <a:pt x="28" y="46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2"/>
                  </a:lnTo>
                  <a:lnTo>
                    <a:pt x="28" y="42"/>
                  </a:lnTo>
                  <a:lnTo>
                    <a:pt x="28" y="42"/>
                  </a:lnTo>
                  <a:lnTo>
                    <a:pt x="27" y="42"/>
                  </a:lnTo>
                  <a:lnTo>
                    <a:pt x="27" y="42"/>
                  </a:lnTo>
                  <a:lnTo>
                    <a:pt x="27" y="42"/>
                  </a:lnTo>
                  <a:lnTo>
                    <a:pt x="26" y="42"/>
                  </a:lnTo>
                  <a:lnTo>
                    <a:pt x="26" y="40"/>
                  </a:lnTo>
                  <a:lnTo>
                    <a:pt x="26" y="38"/>
                  </a:lnTo>
                  <a:lnTo>
                    <a:pt x="26" y="37"/>
                  </a:lnTo>
                  <a:lnTo>
                    <a:pt x="26" y="35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3"/>
                  </a:lnTo>
                  <a:lnTo>
                    <a:pt x="25" y="33"/>
                  </a:lnTo>
                  <a:lnTo>
                    <a:pt x="25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3" y="32"/>
                  </a:lnTo>
                  <a:lnTo>
                    <a:pt x="23" y="30"/>
                  </a:lnTo>
                  <a:lnTo>
                    <a:pt x="23" y="29"/>
                  </a:lnTo>
                  <a:lnTo>
                    <a:pt x="23" y="28"/>
                  </a:lnTo>
                  <a:lnTo>
                    <a:pt x="23" y="27"/>
                  </a:lnTo>
                  <a:lnTo>
                    <a:pt x="23" y="26"/>
                  </a:lnTo>
                  <a:lnTo>
                    <a:pt x="22" y="25"/>
                  </a:lnTo>
                  <a:lnTo>
                    <a:pt x="22" y="24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0" y="22"/>
                  </a:lnTo>
                  <a:lnTo>
                    <a:pt x="19" y="22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7" y="20"/>
                  </a:lnTo>
                  <a:lnTo>
                    <a:pt x="16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3" y="19"/>
                  </a:lnTo>
                  <a:lnTo>
                    <a:pt x="13" y="18"/>
                  </a:lnTo>
                  <a:lnTo>
                    <a:pt x="12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7"/>
                  </a:lnTo>
                  <a:lnTo>
                    <a:pt x="10" y="17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4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9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13" y="5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4" y="6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5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8" y="7"/>
                  </a:lnTo>
                  <a:lnTo>
                    <a:pt x="19" y="7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1" y="6"/>
                  </a:lnTo>
                  <a:lnTo>
                    <a:pt x="21" y="7"/>
                  </a:lnTo>
                  <a:lnTo>
                    <a:pt x="23" y="6"/>
                  </a:lnTo>
                  <a:lnTo>
                    <a:pt x="25" y="6"/>
                  </a:lnTo>
                  <a:lnTo>
                    <a:pt x="26" y="6"/>
                  </a:lnTo>
                  <a:lnTo>
                    <a:pt x="27" y="6"/>
                  </a:lnTo>
                  <a:lnTo>
                    <a:pt x="29" y="7"/>
                  </a:lnTo>
                  <a:lnTo>
                    <a:pt x="30" y="7"/>
                  </a:lnTo>
                  <a:lnTo>
                    <a:pt x="31" y="7"/>
                  </a:lnTo>
                  <a:lnTo>
                    <a:pt x="32" y="7"/>
                  </a:lnTo>
                  <a:lnTo>
                    <a:pt x="34" y="8"/>
                  </a:lnTo>
                  <a:lnTo>
                    <a:pt x="36" y="9"/>
                  </a:lnTo>
                  <a:lnTo>
                    <a:pt x="38" y="10"/>
                  </a:lnTo>
                  <a:lnTo>
                    <a:pt x="40" y="11"/>
                  </a:lnTo>
                  <a:lnTo>
                    <a:pt x="42" y="11"/>
                  </a:lnTo>
                  <a:lnTo>
                    <a:pt x="44" y="12"/>
                  </a:lnTo>
                  <a:lnTo>
                    <a:pt x="46" y="13"/>
                  </a:lnTo>
                  <a:lnTo>
                    <a:pt x="48" y="14"/>
                  </a:lnTo>
                  <a:lnTo>
                    <a:pt x="49" y="14"/>
                  </a:lnTo>
                  <a:lnTo>
                    <a:pt x="50" y="14"/>
                  </a:lnTo>
                  <a:lnTo>
                    <a:pt x="51" y="15"/>
                  </a:lnTo>
                  <a:lnTo>
                    <a:pt x="53" y="15"/>
                  </a:lnTo>
                  <a:lnTo>
                    <a:pt x="54" y="15"/>
                  </a:lnTo>
                  <a:lnTo>
                    <a:pt x="55" y="15"/>
                  </a:lnTo>
                  <a:lnTo>
                    <a:pt x="56" y="15"/>
                  </a:lnTo>
                  <a:lnTo>
                    <a:pt x="58" y="15"/>
                  </a:lnTo>
                  <a:lnTo>
                    <a:pt x="59" y="15"/>
                  </a:lnTo>
                  <a:lnTo>
                    <a:pt x="60" y="14"/>
                  </a:lnTo>
                  <a:lnTo>
                    <a:pt x="61" y="14"/>
                  </a:lnTo>
                  <a:lnTo>
                    <a:pt x="61" y="14"/>
                  </a:lnTo>
                  <a:lnTo>
                    <a:pt x="62" y="13"/>
                  </a:lnTo>
                  <a:lnTo>
                    <a:pt x="63" y="13"/>
                  </a:lnTo>
                  <a:lnTo>
                    <a:pt x="64" y="12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6" y="9"/>
                  </a:lnTo>
                  <a:lnTo>
                    <a:pt x="67" y="9"/>
                  </a:lnTo>
                  <a:lnTo>
                    <a:pt x="68" y="9"/>
                  </a:lnTo>
                  <a:lnTo>
                    <a:pt x="69" y="8"/>
                  </a:lnTo>
                  <a:lnTo>
                    <a:pt x="70" y="8"/>
                  </a:lnTo>
                  <a:lnTo>
                    <a:pt x="73" y="8"/>
                  </a:lnTo>
                  <a:lnTo>
                    <a:pt x="76" y="8"/>
                  </a:lnTo>
                  <a:lnTo>
                    <a:pt x="78" y="8"/>
                  </a:lnTo>
                  <a:lnTo>
                    <a:pt x="81" y="8"/>
                  </a:lnTo>
                  <a:lnTo>
                    <a:pt x="82" y="7"/>
                  </a:lnTo>
                  <a:lnTo>
                    <a:pt x="83" y="7"/>
                  </a:lnTo>
                  <a:lnTo>
                    <a:pt x="84" y="6"/>
                  </a:lnTo>
                  <a:lnTo>
                    <a:pt x="84" y="6"/>
                  </a:lnTo>
                  <a:lnTo>
                    <a:pt x="85" y="5"/>
                  </a:lnTo>
                  <a:lnTo>
                    <a:pt x="86" y="5"/>
                  </a:lnTo>
                  <a:lnTo>
                    <a:pt x="87" y="4"/>
                  </a:lnTo>
                  <a:lnTo>
                    <a:pt x="88" y="4"/>
                  </a:lnTo>
                  <a:lnTo>
                    <a:pt x="90" y="3"/>
                  </a:lnTo>
                  <a:lnTo>
                    <a:pt x="91" y="3"/>
                  </a:lnTo>
                  <a:lnTo>
                    <a:pt x="92" y="3"/>
                  </a:lnTo>
                  <a:lnTo>
                    <a:pt x="94" y="3"/>
                  </a:lnTo>
                  <a:lnTo>
                    <a:pt x="95" y="3"/>
                  </a:lnTo>
                  <a:lnTo>
                    <a:pt x="97" y="3"/>
                  </a:lnTo>
                  <a:lnTo>
                    <a:pt x="98" y="3"/>
                  </a:lnTo>
                  <a:lnTo>
                    <a:pt x="100" y="3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5"/>
                  </a:lnTo>
                  <a:lnTo>
                    <a:pt x="100" y="5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2" y="5"/>
                  </a:lnTo>
                  <a:lnTo>
                    <a:pt x="103" y="6"/>
                  </a:lnTo>
                  <a:lnTo>
                    <a:pt x="104" y="6"/>
                  </a:lnTo>
                  <a:lnTo>
                    <a:pt x="105" y="7"/>
                  </a:lnTo>
                  <a:lnTo>
                    <a:pt x="106" y="8"/>
                  </a:lnTo>
                  <a:lnTo>
                    <a:pt x="107" y="10"/>
                  </a:lnTo>
                  <a:lnTo>
                    <a:pt x="108" y="11"/>
                  </a:lnTo>
                  <a:lnTo>
                    <a:pt x="110" y="13"/>
                  </a:lnTo>
                  <a:lnTo>
                    <a:pt x="110" y="13"/>
                  </a:lnTo>
                  <a:lnTo>
                    <a:pt x="111" y="14"/>
                  </a:lnTo>
                  <a:lnTo>
                    <a:pt x="112" y="14"/>
                  </a:lnTo>
                  <a:lnTo>
                    <a:pt x="113" y="15"/>
                  </a:lnTo>
                  <a:lnTo>
                    <a:pt x="113" y="15"/>
                  </a:lnTo>
                  <a:lnTo>
                    <a:pt x="113" y="15"/>
                  </a:lnTo>
                  <a:lnTo>
                    <a:pt x="113" y="16"/>
                  </a:lnTo>
                  <a:lnTo>
                    <a:pt x="113" y="16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5" y="16"/>
                  </a:lnTo>
                  <a:lnTo>
                    <a:pt x="115" y="15"/>
                  </a:lnTo>
                  <a:lnTo>
                    <a:pt x="115" y="15"/>
                  </a:lnTo>
                  <a:lnTo>
                    <a:pt x="116" y="13"/>
                  </a:lnTo>
                  <a:lnTo>
                    <a:pt x="118" y="11"/>
                  </a:lnTo>
                  <a:lnTo>
                    <a:pt x="120" y="9"/>
                  </a:lnTo>
                  <a:lnTo>
                    <a:pt x="121" y="7"/>
                  </a:lnTo>
                  <a:lnTo>
                    <a:pt x="122" y="7"/>
                  </a:lnTo>
                  <a:lnTo>
                    <a:pt x="122" y="7"/>
                  </a:lnTo>
                  <a:lnTo>
                    <a:pt x="122" y="6"/>
                  </a:lnTo>
                  <a:lnTo>
                    <a:pt x="123" y="6"/>
                  </a:lnTo>
                  <a:lnTo>
                    <a:pt x="123" y="6"/>
                  </a:lnTo>
                  <a:lnTo>
                    <a:pt x="123" y="6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4"/>
                  </a:lnTo>
                  <a:lnTo>
                    <a:pt x="123" y="3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4" y="1"/>
                  </a:lnTo>
                  <a:lnTo>
                    <a:pt x="125" y="1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28" y="0"/>
                  </a:lnTo>
                  <a:lnTo>
                    <a:pt x="129" y="1"/>
                  </a:lnTo>
                  <a:lnTo>
                    <a:pt x="130" y="1"/>
                  </a:lnTo>
                  <a:lnTo>
                    <a:pt x="131" y="1"/>
                  </a:lnTo>
                  <a:lnTo>
                    <a:pt x="133" y="2"/>
                  </a:lnTo>
                  <a:lnTo>
                    <a:pt x="134" y="2"/>
                  </a:lnTo>
                  <a:lnTo>
                    <a:pt x="134" y="2"/>
                  </a:lnTo>
                  <a:lnTo>
                    <a:pt x="135" y="2"/>
                  </a:lnTo>
                  <a:lnTo>
                    <a:pt x="136" y="2"/>
                  </a:lnTo>
                  <a:lnTo>
                    <a:pt x="137" y="2"/>
                  </a:lnTo>
                  <a:lnTo>
                    <a:pt x="138" y="2"/>
                  </a:lnTo>
                </a:path>
              </a:pathLst>
            </a:custGeom>
            <a:grpFill/>
            <a:ln w="3175" cap="flat" cmpd="sng">
              <a:solidFill>
                <a:schemeClr val="accent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algn="ctr" defTabSz="781394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800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48" name="Freeform 10"/>
            <p:cNvSpPr>
              <a:spLocks/>
            </p:cNvSpPr>
            <p:nvPr/>
          </p:nvSpPr>
          <p:spPr bwMode="auto">
            <a:xfrm>
              <a:off x="4215092" y="3641866"/>
              <a:ext cx="1436241" cy="1165819"/>
            </a:xfrm>
            <a:custGeom>
              <a:avLst/>
              <a:gdLst/>
              <a:ahLst/>
              <a:cxnLst>
                <a:cxn ang="0">
                  <a:pos x="142" y="6"/>
                </a:cxn>
                <a:cxn ang="0">
                  <a:pos x="161" y="6"/>
                </a:cxn>
                <a:cxn ang="0">
                  <a:pos x="176" y="26"/>
                </a:cxn>
                <a:cxn ang="0">
                  <a:pos x="181" y="32"/>
                </a:cxn>
                <a:cxn ang="0">
                  <a:pos x="186" y="35"/>
                </a:cxn>
                <a:cxn ang="0">
                  <a:pos x="185" y="43"/>
                </a:cxn>
                <a:cxn ang="0">
                  <a:pos x="191" y="44"/>
                </a:cxn>
                <a:cxn ang="0">
                  <a:pos x="191" y="49"/>
                </a:cxn>
                <a:cxn ang="0">
                  <a:pos x="189" y="49"/>
                </a:cxn>
                <a:cxn ang="0">
                  <a:pos x="186" y="48"/>
                </a:cxn>
                <a:cxn ang="0">
                  <a:pos x="183" y="50"/>
                </a:cxn>
                <a:cxn ang="0">
                  <a:pos x="178" y="50"/>
                </a:cxn>
                <a:cxn ang="0">
                  <a:pos x="173" y="47"/>
                </a:cxn>
                <a:cxn ang="0">
                  <a:pos x="168" y="49"/>
                </a:cxn>
                <a:cxn ang="0">
                  <a:pos x="163" y="51"/>
                </a:cxn>
                <a:cxn ang="0">
                  <a:pos x="158" y="53"/>
                </a:cxn>
                <a:cxn ang="0">
                  <a:pos x="155" y="55"/>
                </a:cxn>
                <a:cxn ang="0">
                  <a:pos x="151" y="56"/>
                </a:cxn>
                <a:cxn ang="0">
                  <a:pos x="148" y="58"/>
                </a:cxn>
                <a:cxn ang="0">
                  <a:pos x="139" y="64"/>
                </a:cxn>
                <a:cxn ang="0">
                  <a:pos x="137" y="68"/>
                </a:cxn>
                <a:cxn ang="0">
                  <a:pos x="140" y="74"/>
                </a:cxn>
                <a:cxn ang="0">
                  <a:pos x="148" y="75"/>
                </a:cxn>
                <a:cxn ang="0">
                  <a:pos x="146" y="79"/>
                </a:cxn>
                <a:cxn ang="0">
                  <a:pos x="148" y="87"/>
                </a:cxn>
                <a:cxn ang="0">
                  <a:pos x="155" y="102"/>
                </a:cxn>
                <a:cxn ang="0">
                  <a:pos x="158" y="106"/>
                </a:cxn>
                <a:cxn ang="0">
                  <a:pos x="161" y="110"/>
                </a:cxn>
                <a:cxn ang="0">
                  <a:pos x="162" y="118"/>
                </a:cxn>
                <a:cxn ang="0">
                  <a:pos x="164" y="120"/>
                </a:cxn>
                <a:cxn ang="0">
                  <a:pos x="157" y="123"/>
                </a:cxn>
                <a:cxn ang="0">
                  <a:pos x="158" y="129"/>
                </a:cxn>
                <a:cxn ang="0">
                  <a:pos x="154" y="130"/>
                </a:cxn>
                <a:cxn ang="0">
                  <a:pos x="153" y="137"/>
                </a:cxn>
                <a:cxn ang="0">
                  <a:pos x="156" y="145"/>
                </a:cxn>
                <a:cxn ang="0">
                  <a:pos x="151" y="144"/>
                </a:cxn>
                <a:cxn ang="0">
                  <a:pos x="144" y="142"/>
                </a:cxn>
                <a:cxn ang="0">
                  <a:pos x="133" y="139"/>
                </a:cxn>
                <a:cxn ang="0">
                  <a:pos x="118" y="137"/>
                </a:cxn>
                <a:cxn ang="0">
                  <a:pos x="105" y="137"/>
                </a:cxn>
                <a:cxn ang="0">
                  <a:pos x="92" y="137"/>
                </a:cxn>
                <a:cxn ang="0">
                  <a:pos x="83" y="137"/>
                </a:cxn>
                <a:cxn ang="0">
                  <a:pos x="75" y="138"/>
                </a:cxn>
                <a:cxn ang="0">
                  <a:pos x="72" y="139"/>
                </a:cxn>
                <a:cxn ang="0">
                  <a:pos x="66" y="140"/>
                </a:cxn>
                <a:cxn ang="0">
                  <a:pos x="54" y="142"/>
                </a:cxn>
                <a:cxn ang="0">
                  <a:pos x="50" y="144"/>
                </a:cxn>
                <a:cxn ang="0">
                  <a:pos x="44" y="143"/>
                </a:cxn>
                <a:cxn ang="0">
                  <a:pos x="39" y="128"/>
                </a:cxn>
                <a:cxn ang="0">
                  <a:pos x="30" y="106"/>
                </a:cxn>
                <a:cxn ang="0">
                  <a:pos x="11" y="91"/>
                </a:cxn>
                <a:cxn ang="0">
                  <a:pos x="0" y="69"/>
                </a:cxn>
                <a:cxn ang="0">
                  <a:pos x="2" y="48"/>
                </a:cxn>
                <a:cxn ang="0">
                  <a:pos x="14" y="34"/>
                </a:cxn>
                <a:cxn ang="0">
                  <a:pos x="67" y="24"/>
                </a:cxn>
                <a:cxn ang="0">
                  <a:pos x="74" y="15"/>
                </a:cxn>
                <a:cxn ang="0">
                  <a:pos x="76" y="7"/>
                </a:cxn>
                <a:cxn ang="0">
                  <a:pos x="87" y="0"/>
                </a:cxn>
                <a:cxn ang="0">
                  <a:pos x="109" y="3"/>
                </a:cxn>
                <a:cxn ang="0">
                  <a:pos x="121" y="4"/>
                </a:cxn>
                <a:cxn ang="0">
                  <a:pos x="125" y="3"/>
                </a:cxn>
              </a:cxnLst>
              <a:rect l="0" t="0" r="r" b="b"/>
              <a:pathLst>
                <a:path w="192" h="145">
                  <a:moveTo>
                    <a:pt x="127" y="2"/>
                  </a:moveTo>
                  <a:lnTo>
                    <a:pt x="127" y="2"/>
                  </a:lnTo>
                  <a:lnTo>
                    <a:pt x="127" y="2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29" y="2"/>
                  </a:lnTo>
                  <a:lnTo>
                    <a:pt x="130" y="2"/>
                  </a:lnTo>
                  <a:lnTo>
                    <a:pt x="134" y="4"/>
                  </a:lnTo>
                  <a:lnTo>
                    <a:pt x="136" y="4"/>
                  </a:lnTo>
                  <a:lnTo>
                    <a:pt x="138" y="5"/>
                  </a:lnTo>
                  <a:lnTo>
                    <a:pt x="140" y="6"/>
                  </a:lnTo>
                  <a:lnTo>
                    <a:pt x="142" y="6"/>
                  </a:lnTo>
                  <a:lnTo>
                    <a:pt x="144" y="7"/>
                  </a:lnTo>
                  <a:lnTo>
                    <a:pt x="146" y="7"/>
                  </a:lnTo>
                  <a:lnTo>
                    <a:pt x="149" y="8"/>
                  </a:lnTo>
                  <a:lnTo>
                    <a:pt x="151" y="8"/>
                  </a:lnTo>
                  <a:lnTo>
                    <a:pt x="153" y="8"/>
                  </a:lnTo>
                  <a:lnTo>
                    <a:pt x="155" y="8"/>
                  </a:lnTo>
                  <a:lnTo>
                    <a:pt x="156" y="8"/>
                  </a:lnTo>
                  <a:lnTo>
                    <a:pt x="157" y="7"/>
                  </a:lnTo>
                  <a:lnTo>
                    <a:pt x="158" y="7"/>
                  </a:lnTo>
                  <a:lnTo>
                    <a:pt x="159" y="7"/>
                  </a:lnTo>
                  <a:lnTo>
                    <a:pt x="160" y="7"/>
                  </a:lnTo>
                  <a:lnTo>
                    <a:pt x="161" y="6"/>
                  </a:lnTo>
                  <a:lnTo>
                    <a:pt x="162" y="6"/>
                  </a:lnTo>
                  <a:lnTo>
                    <a:pt x="163" y="6"/>
                  </a:lnTo>
                  <a:lnTo>
                    <a:pt x="164" y="7"/>
                  </a:lnTo>
                  <a:lnTo>
                    <a:pt x="165" y="9"/>
                  </a:lnTo>
                  <a:lnTo>
                    <a:pt x="165" y="10"/>
                  </a:lnTo>
                  <a:lnTo>
                    <a:pt x="166" y="12"/>
                  </a:lnTo>
                  <a:lnTo>
                    <a:pt x="167" y="14"/>
                  </a:lnTo>
                  <a:lnTo>
                    <a:pt x="168" y="15"/>
                  </a:lnTo>
                  <a:lnTo>
                    <a:pt x="170" y="18"/>
                  </a:lnTo>
                  <a:lnTo>
                    <a:pt x="172" y="21"/>
                  </a:lnTo>
                  <a:lnTo>
                    <a:pt x="174" y="24"/>
                  </a:lnTo>
                  <a:lnTo>
                    <a:pt x="176" y="26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30"/>
                  </a:lnTo>
                  <a:lnTo>
                    <a:pt x="178" y="30"/>
                  </a:lnTo>
                  <a:lnTo>
                    <a:pt x="178" y="30"/>
                  </a:lnTo>
                  <a:lnTo>
                    <a:pt x="179" y="30"/>
                  </a:lnTo>
                  <a:lnTo>
                    <a:pt x="179" y="30"/>
                  </a:lnTo>
                  <a:lnTo>
                    <a:pt x="179" y="30"/>
                  </a:lnTo>
                  <a:lnTo>
                    <a:pt x="180" y="31"/>
                  </a:lnTo>
                  <a:lnTo>
                    <a:pt x="180" y="31"/>
                  </a:lnTo>
                  <a:lnTo>
                    <a:pt x="180" y="32"/>
                  </a:lnTo>
                  <a:lnTo>
                    <a:pt x="181" y="32"/>
                  </a:lnTo>
                  <a:lnTo>
                    <a:pt x="181" y="33"/>
                  </a:lnTo>
                  <a:lnTo>
                    <a:pt x="182" y="33"/>
                  </a:lnTo>
                  <a:lnTo>
                    <a:pt x="183" y="34"/>
                  </a:lnTo>
                  <a:lnTo>
                    <a:pt x="184" y="34"/>
                  </a:lnTo>
                  <a:lnTo>
                    <a:pt x="185" y="34"/>
                  </a:lnTo>
                  <a:lnTo>
                    <a:pt x="185" y="34"/>
                  </a:lnTo>
                  <a:lnTo>
                    <a:pt x="185" y="34"/>
                  </a:lnTo>
                  <a:lnTo>
                    <a:pt x="185" y="35"/>
                  </a:lnTo>
                  <a:lnTo>
                    <a:pt x="185" y="35"/>
                  </a:lnTo>
                  <a:lnTo>
                    <a:pt x="185" y="35"/>
                  </a:lnTo>
                  <a:lnTo>
                    <a:pt x="186" y="35"/>
                  </a:lnTo>
                  <a:lnTo>
                    <a:pt x="186" y="35"/>
                  </a:lnTo>
                  <a:lnTo>
                    <a:pt x="186" y="35"/>
                  </a:lnTo>
                  <a:lnTo>
                    <a:pt x="187" y="35"/>
                  </a:lnTo>
                  <a:lnTo>
                    <a:pt x="187" y="37"/>
                  </a:lnTo>
                  <a:lnTo>
                    <a:pt x="187" y="39"/>
                  </a:lnTo>
                  <a:lnTo>
                    <a:pt x="187" y="41"/>
                  </a:lnTo>
                  <a:lnTo>
                    <a:pt x="187" y="42"/>
                  </a:lnTo>
                  <a:lnTo>
                    <a:pt x="186" y="42"/>
                  </a:lnTo>
                  <a:lnTo>
                    <a:pt x="186" y="43"/>
                  </a:lnTo>
                  <a:lnTo>
                    <a:pt x="185" y="43"/>
                  </a:lnTo>
                  <a:lnTo>
                    <a:pt x="185" y="43"/>
                  </a:lnTo>
                  <a:lnTo>
                    <a:pt x="185" y="43"/>
                  </a:lnTo>
                  <a:lnTo>
                    <a:pt x="185" y="43"/>
                  </a:lnTo>
                  <a:lnTo>
                    <a:pt x="185" y="43"/>
                  </a:lnTo>
                  <a:lnTo>
                    <a:pt x="185" y="43"/>
                  </a:lnTo>
                  <a:lnTo>
                    <a:pt x="185" y="43"/>
                  </a:lnTo>
                  <a:lnTo>
                    <a:pt x="186" y="43"/>
                  </a:lnTo>
                  <a:lnTo>
                    <a:pt x="186" y="44"/>
                  </a:lnTo>
                  <a:lnTo>
                    <a:pt x="186" y="44"/>
                  </a:lnTo>
                  <a:lnTo>
                    <a:pt x="187" y="44"/>
                  </a:lnTo>
                  <a:lnTo>
                    <a:pt x="188" y="44"/>
                  </a:lnTo>
                  <a:lnTo>
                    <a:pt x="189" y="44"/>
                  </a:lnTo>
                  <a:lnTo>
                    <a:pt x="190" y="44"/>
                  </a:lnTo>
                  <a:lnTo>
                    <a:pt x="190" y="44"/>
                  </a:lnTo>
                  <a:lnTo>
                    <a:pt x="191" y="44"/>
                  </a:lnTo>
                  <a:lnTo>
                    <a:pt x="191" y="44"/>
                  </a:lnTo>
                  <a:lnTo>
                    <a:pt x="192" y="44"/>
                  </a:lnTo>
                  <a:lnTo>
                    <a:pt x="192" y="45"/>
                  </a:lnTo>
                  <a:lnTo>
                    <a:pt x="192" y="45"/>
                  </a:lnTo>
                  <a:lnTo>
                    <a:pt x="192" y="45"/>
                  </a:lnTo>
                  <a:lnTo>
                    <a:pt x="192" y="46"/>
                  </a:lnTo>
                  <a:lnTo>
                    <a:pt x="192" y="46"/>
                  </a:lnTo>
                  <a:lnTo>
                    <a:pt x="192" y="46"/>
                  </a:lnTo>
                  <a:lnTo>
                    <a:pt x="192" y="47"/>
                  </a:lnTo>
                  <a:lnTo>
                    <a:pt x="191" y="47"/>
                  </a:lnTo>
                  <a:lnTo>
                    <a:pt x="191" y="48"/>
                  </a:lnTo>
                  <a:lnTo>
                    <a:pt x="191" y="49"/>
                  </a:lnTo>
                  <a:lnTo>
                    <a:pt x="191" y="49"/>
                  </a:lnTo>
                  <a:lnTo>
                    <a:pt x="191" y="50"/>
                  </a:lnTo>
                  <a:lnTo>
                    <a:pt x="191" y="50"/>
                  </a:lnTo>
                  <a:lnTo>
                    <a:pt x="190" y="50"/>
                  </a:lnTo>
                  <a:lnTo>
                    <a:pt x="190" y="50"/>
                  </a:lnTo>
                  <a:lnTo>
                    <a:pt x="190" y="50"/>
                  </a:lnTo>
                  <a:lnTo>
                    <a:pt x="190" y="50"/>
                  </a:lnTo>
                  <a:lnTo>
                    <a:pt x="190" y="50"/>
                  </a:lnTo>
                  <a:lnTo>
                    <a:pt x="190" y="49"/>
                  </a:lnTo>
                  <a:lnTo>
                    <a:pt x="189" y="49"/>
                  </a:lnTo>
                  <a:lnTo>
                    <a:pt x="189" y="49"/>
                  </a:lnTo>
                  <a:lnTo>
                    <a:pt x="189" y="49"/>
                  </a:lnTo>
                  <a:lnTo>
                    <a:pt x="188" y="49"/>
                  </a:lnTo>
                  <a:lnTo>
                    <a:pt x="188" y="49"/>
                  </a:lnTo>
                  <a:lnTo>
                    <a:pt x="188" y="49"/>
                  </a:lnTo>
                  <a:lnTo>
                    <a:pt x="188" y="49"/>
                  </a:lnTo>
                  <a:lnTo>
                    <a:pt x="187" y="49"/>
                  </a:lnTo>
                  <a:lnTo>
                    <a:pt x="187" y="49"/>
                  </a:lnTo>
                  <a:lnTo>
                    <a:pt x="187" y="49"/>
                  </a:lnTo>
                  <a:lnTo>
                    <a:pt x="186" y="48"/>
                  </a:lnTo>
                  <a:lnTo>
                    <a:pt x="186" y="48"/>
                  </a:lnTo>
                  <a:lnTo>
                    <a:pt x="186" y="48"/>
                  </a:lnTo>
                  <a:lnTo>
                    <a:pt x="186" y="48"/>
                  </a:lnTo>
                  <a:lnTo>
                    <a:pt x="186" y="48"/>
                  </a:lnTo>
                  <a:lnTo>
                    <a:pt x="186" y="48"/>
                  </a:lnTo>
                  <a:lnTo>
                    <a:pt x="186" y="48"/>
                  </a:lnTo>
                  <a:lnTo>
                    <a:pt x="185" y="48"/>
                  </a:lnTo>
                  <a:lnTo>
                    <a:pt x="185" y="48"/>
                  </a:lnTo>
                  <a:lnTo>
                    <a:pt x="185" y="48"/>
                  </a:lnTo>
                  <a:lnTo>
                    <a:pt x="185" y="48"/>
                  </a:lnTo>
                  <a:lnTo>
                    <a:pt x="185" y="49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3" y="49"/>
                  </a:lnTo>
                  <a:lnTo>
                    <a:pt x="183" y="50"/>
                  </a:lnTo>
                  <a:lnTo>
                    <a:pt x="182" y="50"/>
                  </a:lnTo>
                  <a:lnTo>
                    <a:pt x="181" y="50"/>
                  </a:lnTo>
                  <a:lnTo>
                    <a:pt x="181" y="51"/>
                  </a:lnTo>
                  <a:lnTo>
                    <a:pt x="181" y="51"/>
                  </a:lnTo>
                  <a:lnTo>
                    <a:pt x="180" y="51"/>
                  </a:lnTo>
                  <a:lnTo>
                    <a:pt x="180" y="50"/>
                  </a:lnTo>
                  <a:lnTo>
                    <a:pt x="179" y="50"/>
                  </a:lnTo>
                  <a:lnTo>
                    <a:pt x="179" y="50"/>
                  </a:lnTo>
                  <a:lnTo>
                    <a:pt x="179" y="50"/>
                  </a:lnTo>
                  <a:lnTo>
                    <a:pt x="178" y="50"/>
                  </a:lnTo>
                  <a:lnTo>
                    <a:pt x="178" y="50"/>
                  </a:lnTo>
                  <a:lnTo>
                    <a:pt x="178" y="50"/>
                  </a:lnTo>
                  <a:lnTo>
                    <a:pt x="177" y="50"/>
                  </a:lnTo>
                  <a:lnTo>
                    <a:pt x="177" y="50"/>
                  </a:lnTo>
                  <a:lnTo>
                    <a:pt x="176" y="50"/>
                  </a:lnTo>
                  <a:lnTo>
                    <a:pt x="176" y="49"/>
                  </a:lnTo>
                  <a:lnTo>
                    <a:pt x="176" y="49"/>
                  </a:lnTo>
                  <a:lnTo>
                    <a:pt x="175" y="48"/>
                  </a:lnTo>
                  <a:lnTo>
                    <a:pt x="175" y="48"/>
                  </a:lnTo>
                  <a:lnTo>
                    <a:pt x="175" y="47"/>
                  </a:lnTo>
                  <a:lnTo>
                    <a:pt x="174" y="47"/>
                  </a:lnTo>
                  <a:lnTo>
                    <a:pt x="174" y="47"/>
                  </a:lnTo>
                  <a:lnTo>
                    <a:pt x="174" y="47"/>
                  </a:lnTo>
                  <a:lnTo>
                    <a:pt x="173" y="47"/>
                  </a:lnTo>
                  <a:lnTo>
                    <a:pt x="172" y="47"/>
                  </a:lnTo>
                  <a:lnTo>
                    <a:pt x="172" y="47"/>
                  </a:lnTo>
                  <a:lnTo>
                    <a:pt x="171" y="47"/>
                  </a:lnTo>
                  <a:lnTo>
                    <a:pt x="171" y="47"/>
                  </a:lnTo>
                  <a:lnTo>
                    <a:pt x="170" y="47"/>
                  </a:lnTo>
                  <a:lnTo>
                    <a:pt x="170" y="47"/>
                  </a:lnTo>
                  <a:lnTo>
                    <a:pt x="170" y="48"/>
                  </a:lnTo>
                  <a:lnTo>
                    <a:pt x="170" y="48"/>
                  </a:lnTo>
                  <a:lnTo>
                    <a:pt x="170" y="48"/>
                  </a:lnTo>
                  <a:lnTo>
                    <a:pt x="170" y="49"/>
                  </a:lnTo>
                  <a:lnTo>
                    <a:pt x="169" y="49"/>
                  </a:lnTo>
                  <a:lnTo>
                    <a:pt x="168" y="49"/>
                  </a:lnTo>
                  <a:lnTo>
                    <a:pt x="167" y="49"/>
                  </a:lnTo>
                  <a:lnTo>
                    <a:pt x="166" y="49"/>
                  </a:lnTo>
                  <a:lnTo>
                    <a:pt x="166" y="49"/>
                  </a:lnTo>
                  <a:lnTo>
                    <a:pt x="165" y="49"/>
                  </a:lnTo>
                  <a:lnTo>
                    <a:pt x="165" y="49"/>
                  </a:lnTo>
                  <a:lnTo>
                    <a:pt x="165" y="49"/>
                  </a:lnTo>
                  <a:lnTo>
                    <a:pt x="165" y="49"/>
                  </a:lnTo>
                  <a:lnTo>
                    <a:pt x="165" y="49"/>
                  </a:lnTo>
                  <a:lnTo>
                    <a:pt x="165" y="50"/>
                  </a:lnTo>
                  <a:lnTo>
                    <a:pt x="165" y="50"/>
                  </a:lnTo>
                  <a:lnTo>
                    <a:pt x="164" y="51"/>
                  </a:lnTo>
                  <a:lnTo>
                    <a:pt x="163" y="51"/>
                  </a:lnTo>
                  <a:lnTo>
                    <a:pt x="163" y="51"/>
                  </a:lnTo>
                  <a:lnTo>
                    <a:pt x="162" y="51"/>
                  </a:lnTo>
                  <a:lnTo>
                    <a:pt x="161" y="51"/>
                  </a:lnTo>
                  <a:lnTo>
                    <a:pt x="161" y="52"/>
                  </a:lnTo>
                  <a:lnTo>
                    <a:pt x="160" y="52"/>
                  </a:lnTo>
                  <a:lnTo>
                    <a:pt x="159" y="52"/>
                  </a:lnTo>
                  <a:lnTo>
                    <a:pt x="159" y="52"/>
                  </a:lnTo>
                  <a:lnTo>
                    <a:pt x="159" y="52"/>
                  </a:lnTo>
                  <a:lnTo>
                    <a:pt x="158" y="52"/>
                  </a:lnTo>
                  <a:lnTo>
                    <a:pt x="158" y="53"/>
                  </a:lnTo>
                  <a:lnTo>
                    <a:pt x="158" y="53"/>
                  </a:lnTo>
                  <a:lnTo>
                    <a:pt x="158" y="53"/>
                  </a:lnTo>
                  <a:lnTo>
                    <a:pt x="158" y="54"/>
                  </a:lnTo>
                  <a:lnTo>
                    <a:pt x="158" y="54"/>
                  </a:lnTo>
                  <a:lnTo>
                    <a:pt x="157" y="54"/>
                  </a:lnTo>
                  <a:lnTo>
                    <a:pt x="157" y="54"/>
                  </a:lnTo>
                  <a:lnTo>
                    <a:pt x="157" y="54"/>
                  </a:lnTo>
                  <a:lnTo>
                    <a:pt x="157" y="54"/>
                  </a:lnTo>
                  <a:lnTo>
                    <a:pt x="156" y="54"/>
                  </a:lnTo>
                  <a:lnTo>
                    <a:pt x="155" y="54"/>
                  </a:lnTo>
                  <a:lnTo>
                    <a:pt x="155" y="54"/>
                  </a:lnTo>
                  <a:lnTo>
                    <a:pt x="155" y="54"/>
                  </a:lnTo>
                  <a:lnTo>
                    <a:pt x="155" y="54"/>
                  </a:lnTo>
                  <a:lnTo>
                    <a:pt x="155" y="55"/>
                  </a:lnTo>
                  <a:lnTo>
                    <a:pt x="155" y="55"/>
                  </a:lnTo>
                  <a:lnTo>
                    <a:pt x="155" y="56"/>
                  </a:lnTo>
                  <a:lnTo>
                    <a:pt x="154" y="56"/>
                  </a:lnTo>
                  <a:lnTo>
                    <a:pt x="154" y="56"/>
                  </a:lnTo>
                  <a:lnTo>
                    <a:pt x="153" y="56"/>
                  </a:lnTo>
                  <a:lnTo>
                    <a:pt x="153" y="56"/>
                  </a:lnTo>
                  <a:lnTo>
                    <a:pt x="153" y="55"/>
                  </a:lnTo>
                  <a:lnTo>
                    <a:pt x="152" y="55"/>
                  </a:lnTo>
                  <a:lnTo>
                    <a:pt x="152" y="55"/>
                  </a:lnTo>
                  <a:lnTo>
                    <a:pt x="152" y="56"/>
                  </a:lnTo>
                  <a:lnTo>
                    <a:pt x="152" y="56"/>
                  </a:lnTo>
                  <a:lnTo>
                    <a:pt x="151" y="56"/>
                  </a:lnTo>
                  <a:lnTo>
                    <a:pt x="151" y="57"/>
                  </a:lnTo>
                  <a:lnTo>
                    <a:pt x="151" y="57"/>
                  </a:lnTo>
                  <a:lnTo>
                    <a:pt x="151" y="57"/>
                  </a:lnTo>
                  <a:lnTo>
                    <a:pt x="151" y="57"/>
                  </a:lnTo>
                  <a:lnTo>
                    <a:pt x="150" y="57"/>
                  </a:lnTo>
                  <a:lnTo>
                    <a:pt x="150" y="57"/>
                  </a:lnTo>
                  <a:lnTo>
                    <a:pt x="149" y="57"/>
                  </a:lnTo>
                  <a:lnTo>
                    <a:pt x="149" y="57"/>
                  </a:lnTo>
                  <a:lnTo>
                    <a:pt x="149" y="57"/>
                  </a:lnTo>
                  <a:lnTo>
                    <a:pt x="149" y="57"/>
                  </a:lnTo>
                  <a:lnTo>
                    <a:pt x="148" y="58"/>
                  </a:lnTo>
                  <a:lnTo>
                    <a:pt x="148" y="58"/>
                  </a:lnTo>
                  <a:lnTo>
                    <a:pt x="148" y="58"/>
                  </a:lnTo>
                  <a:lnTo>
                    <a:pt x="148" y="59"/>
                  </a:lnTo>
                  <a:lnTo>
                    <a:pt x="148" y="59"/>
                  </a:lnTo>
                  <a:lnTo>
                    <a:pt x="147" y="60"/>
                  </a:lnTo>
                  <a:lnTo>
                    <a:pt x="145" y="60"/>
                  </a:lnTo>
                  <a:lnTo>
                    <a:pt x="144" y="61"/>
                  </a:lnTo>
                  <a:lnTo>
                    <a:pt x="142" y="61"/>
                  </a:lnTo>
                  <a:lnTo>
                    <a:pt x="142" y="62"/>
                  </a:lnTo>
                  <a:lnTo>
                    <a:pt x="141" y="62"/>
                  </a:lnTo>
                  <a:lnTo>
                    <a:pt x="140" y="63"/>
                  </a:lnTo>
                  <a:lnTo>
                    <a:pt x="140" y="63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39" y="65"/>
                  </a:lnTo>
                  <a:lnTo>
                    <a:pt x="138" y="65"/>
                  </a:lnTo>
                  <a:lnTo>
                    <a:pt x="138" y="65"/>
                  </a:lnTo>
                  <a:lnTo>
                    <a:pt x="137" y="65"/>
                  </a:lnTo>
                  <a:lnTo>
                    <a:pt x="137" y="65"/>
                  </a:lnTo>
                  <a:lnTo>
                    <a:pt x="137" y="66"/>
                  </a:lnTo>
                  <a:lnTo>
                    <a:pt x="137" y="66"/>
                  </a:lnTo>
                  <a:lnTo>
                    <a:pt x="137" y="66"/>
                  </a:lnTo>
                  <a:lnTo>
                    <a:pt x="137" y="67"/>
                  </a:lnTo>
                  <a:lnTo>
                    <a:pt x="137" y="67"/>
                  </a:lnTo>
                  <a:lnTo>
                    <a:pt x="137" y="68"/>
                  </a:lnTo>
                  <a:lnTo>
                    <a:pt x="137" y="70"/>
                  </a:lnTo>
                  <a:lnTo>
                    <a:pt x="137" y="71"/>
                  </a:lnTo>
                  <a:lnTo>
                    <a:pt x="137" y="72"/>
                  </a:lnTo>
                  <a:lnTo>
                    <a:pt x="137" y="72"/>
                  </a:lnTo>
                  <a:lnTo>
                    <a:pt x="137" y="73"/>
                  </a:lnTo>
                  <a:lnTo>
                    <a:pt x="137" y="73"/>
                  </a:lnTo>
                  <a:lnTo>
                    <a:pt x="137" y="73"/>
                  </a:lnTo>
                  <a:lnTo>
                    <a:pt x="138" y="74"/>
                  </a:lnTo>
                  <a:lnTo>
                    <a:pt x="138" y="74"/>
                  </a:lnTo>
                  <a:lnTo>
                    <a:pt x="138" y="74"/>
                  </a:lnTo>
                  <a:lnTo>
                    <a:pt x="139" y="74"/>
                  </a:lnTo>
                  <a:lnTo>
                    <a:pt x="140" y="74"/>
                  </a:lnTo>
                  <a:lnTo>
                    <a:pt x="141" y="74"/>
                  </a:lnTo>
                  <a:lnTo>
                    <a:pt x="142" y="74"/>
                  </a:lnTo>
                  <a:lnTo>
                    <a:pt x="143" y="74"/>
                  </a:lnTo>
                  <a:lnTo>
                    <a:pt x="144" y="74"/>
                  </a:lnTo>
                  <a:lnTo>
                    <a:pt x="145" y="74"/>
                  </a:lnTo>
                  <a:lnTo>
                    <a:pt x="146" y="74"/>
                  </a:lnTo>
                  <a:lnTo>
                    <a:pt x="147" y="74"/>
                  </a:lnTo>
                  <a:lnTo>
                    <a:pt x="147" y="74"/>
                  </a:lnTo>
                  <a:lnTo>
                    <a:pt x="148" y="74"/>
                  </a:lnTo>
                  <a:lnTo>
                    <a:pt x="148" y="74"/>
                  </a:lnTo>
                  <a:lnTo>
                    <a:pt x="148" y="75"/>
                  </a:lnTo>
                  <a:lnTo>
                    <a:pt x="148" y="75"/>
                  </a:lnTo>
                  <a:lnTo>
                    <a:pt x="149" y="75"/>
                  </a:lnTo>
                  <a:lnTo>
                    <a:pt x="149" y="76"/>
                  </a:lnTo>
                  <a:lnTo>
                    <a:pt x="148" y="76"/>
                  </a:lnTo>
                  <a:lnTo>
                    <a:pt x="148" y="77"/>
                  </a:lnTo>
                  <a:lnTo>
                    <a:pt x="148" y="77"/>
                  </a:lnTo>
                  <a:lnTo>
                    <a:pt x="147" y="77"/>
                  </a:lnTo>
                  <a:lnTo>
                    <a:pt x="147" y="77"/>
                  </a:lnTo>
                  <a:lnTo>
                    <a:pt x="147" y="77"/>
                  </a:lnTo>
                  <a:lnTo>
                    <a:pt x="147" y="78"/>
                  </a:lnTo>
                  <a:lnTo>
                    <a:pt x="146" y="78"/>
                  </a:lnTo>
                  <a:lnTo>
                    <a:pt x="146" y="78"/>
                  </a:lnTo>
                  <a:lnTo>
                    <a:pt x="146" y="79"/>
                  </a:lnTo>
                  <a:lnTo>
                    <a:pt x="146" y="80"/>
                  </a:lnTo>
                  <a:lnTo>
                    <a:pt x="146" y="82"/>
                  </a:lnTo>
                  <a:lnTo>
                    <a:pt x="146" y="84"/>
                  </a:lnTo>
                  <a:lnTo>
                    <a:pt x="146" y="86"/>
                  </a:lnTo>
                  <a:lnTo>
                    <a:pt x="146" y="86"/>
                  </a:lnTo>
                  <a:lnTo>
                    <a:pt x="146" y="86"/>
                  </a:lnTo>
                  <a:lnTo>
                    <a:pt x="146" y="87"/>
                  </a:lnTo>
                  <a:lnTo>
                    <a:pt x="147" y="87"/>
                  </a:lnTo>
                  <a:lnTo>
                    <a:pt x="147" y="87"/>
                  </a:lnTo>
                  <a:lnTo>
                    <a:pt x="147" y="87"/>
                  </a:lnTo>
                  <a:lnTo>
                    <a:pt x="148" y="87"/>
                  </a:lnTo>
                  <a:lnTo>
                    <a:pt x="148" y="87"/>
                  </a:lnTo>
                  <a:lnTo>
                    <a:pt x="148" y="89"/>
                  </a:lnTo>
                  <a:lnTo>
                    <a:pt x="149" y="90"/>
                  </a:lnTo>
                  <a:lnTo>
                    <a:pt x="149" y="91"/>
                  </a:lnTo>
                  <a:lnTo>
                    <a:pt x="149" y="92"/>
                  </a:lnTo>
                  <a:lnTo>
                    <a:pt x="150" y="93"/>
                  </a:lnTo>
                  <a:lnTo>
                    <a:pt x="150" y="94"/>
                  </a:lnTo>
                  <a:lnTo>
                    <a:pt x="151" y="95"/>
                  </a:lnTo>
                  <a:lnTo>
                    <a:pt x="152" y="96"/>
                  </a:lnTo>
                  <a:lnTo>
                    <a:pt x="153" y="98"/>
                  </a:lnTo>
                  <a:lnTo>
                    <a:pt x="154" y="100"/>
                  </a:lnTo>
                  <a:lnTo>
                    <a:pt x="155" y="101"/>
                  </a:lnTo>
                  <a:lnTo>
                    <a:pt x="155" y="102"/>
                  </a:lnTo>
                  <a:lnTo>
                    <a:pt x="156" y="103"/>
                  </a:lnTo>
                  <a:lnTo>
                    <a:pt x="157" y="104"/>
                  </a:lnTo>
                  <a:lnTo>
                    <a:pt x="156" y="104"/>
                  </a:lnTo>
                  <a:lnTo>
                    <a:pt x="156" y="104"/>
                  </a:lnTo>
                  <a:lnTo>
                    <a:pt x="156" y="105"/>
                  </a:lnTo>
                  <a:lnTo>
                    <a:pt x="157" y="105"/>
                  </a:lnTo>
                  <a:lnTo>
                    <a:pt x="157" y="105"/>
                  </a:lnTo>
                  <a:lnTo>
                    <a:pt x="157" y="105"/>
                  </a:lnTo>
                  <a:lnTo>
                    <a:pt x="158" y="105"/>
                  </a:lnTo>
                  <a:lnTo>
                    <a:pt x="158" y="105"/>
                  </a:lnTo>
                  <a:lnTo>
                    <a:pt x="158" y="106"/>
                  </a:lnTo>
                  <a:lnTo>
                    <a:pt x="158" y="106"/>
                  </a:lnTo>
                  <a:lnTo>
                    <a:pt x="159" y="107"/>
                  </a:lnTo>
                  <a:lnTo>
                    <a:pt x="159" y="107"/>
                  </a:lnTo>
                  <a:lnTo>
                    <a:pt x="159" y="108"/>
                  </a:lnTo>
                  <a:lnTo>
                    <a:pt x="160" y="108"/>
                  </a:lnTo>
                  <a:lnTo>
                    <a:pt x="160" y="109"/>
                  </a:lnTo>
                  <a:lnTo>
                    <a:pt x="160" y="109"/>
                  </a:lnTo>
                  <a:lnTo>
                    <a:pt x="160" y="110"/>
                  </a:lnTo>
                  <a:lnTo>
                    <a:pt x="160" y="110"/>
                  </a:lnTo>
                  <a:lnTo>
                    <a:pt x="160" y="110"/>
                  </a:lnTo>
                  <a:lnTo>
                    <a:pt x="160" y="110"/>
                  </a:lnTo>
                  <a:lnTo>
                    <a:pt x="161" y="110"/>
                  </a:lnTo>
                  <a:lnTo>
                    <a:pt x="161" y="110"/>
                  </a:lnTo>
                  <a:lnTo>
                    <a:pt x="162" y="111"/>
                  </a:lnTo>
                  <a:lnTo>
                    <a:pt x="162" y="111"/>
                  </a:lnTo>
                  <a:lnTo>
                    <a:pt x="162" y="112"/>
                  </a:lnTo>
                  <a:lnTo>
                    <a:pt x="162" y="114"/>
                  </a:lnTo>
                  <a:lnTo>
                    <a:pt x="162" y="115"/>
                  </a:lnTo>
                  <a:lnTo>
                    <a:pt x="162" y="116"/>
                  </a:lnTo>
                  <a:lnTo>
                    <a:pt x="162" y="117"/>
                  </a:lnTo>
                  <a:lnTo>
                    <a:pt x="161" y="117"/>
                  </a:lnTo>
                  <a:lnTo>
                    <a:pt x="161" y="118"/>
                  </a:lnTo>
                  <a:lnTo>
                    <a:pt x="162" y="118"/>
                  </a:lnTo>
                  <a:lnTo>
                    <a:pt x="162" y="118"/>
                  </a:lnTo>
                  <a:lnTo>
                    <a:pt x="162" y="118"/>
                  </a:lnTo>
                  <a:lnTo>
                    <a:pt x="162" y="119"/>
                  </a:lnTo>
                  <a:lnTo>
                    <a:pt x="163" y="119"/>
                  </a:lnTo>
                  <a:lnTo>
                    <a:pt x="163" y="119"/>
                  </a:lnTo>
                  <a:lnTo>
                    <a:pt x="164" y="119"/>
                  </a:lnTo>
                  <a:lnTo>
                    <a:pt x="164" y="119"/>
                  </a:lnTo>
                  <a:lnTo>
                    <a:pt x="164" y="119"/>
                  </a:lnTo>
                  <a:lnTo>
                    <a:pt x="164" y="119"/>
                  </a:lnTo>
                  <a:lnTo>
                    <a:pt x="164" y="119"/>
                  </a:lnTo>
                  <a:lnTo>
                    <a:pt x="164" y="119"/>
                  </a:lnTo>
                  <a:lnTo>
                    <a:pt x="164" y="119"/>
                  </a:lnTo>
                  <a:lnTo>
                    <a:pt x="164" y="120"/>
                  </a:lnTo>
                  <a:lnTo>
                    <a:pt x="164" y="120"/>
                  </a:lnTo>
                  <a:lnTo>
                    <a:pt x="163" y="120"/>
                  </a:lnTo>
                  <a:lnTo>
                    <a:pt x="163" y="120"/>
                  </a:lnTo>
                  <a:lnTo>
                    <a:pt x="162" y="120"/>
                  </a:lnTo>
                  <a:lnTo>
                    <a:pt x="161" y="121"/>
                  </a:lnTo>
                  <a:lnTo>
                    <a:pt x="161" y="121"/>
                  </a:lnTo>
                  <a:lnTo>
                    <a:pt x="160" y="121"/>
                  </a:lnTo>
                  <a:lnTo>
                    <a:pt x="159" y="122"/>
                  </a:lnTo>
                  <a:lnTo>
                    <a:pt x="158" y="122"/>
                  </a:lnTo>
                  <a:lnTo>
                    <a:pt x="158" y="122"/>
                  </a:lnTo>
                  <a:lnTo>
                    <a:pt x="157" y="123"/>
                  </a:lnTo>
                  <a:lnTo>
                    <a:pt x="157" y="123"/>
                  </a:lnTo>
                  <a:lnTo>
                    <a:pt x="157" y="123"/>
                  </a:lnTo>
                  <a:lnTo>
                    <a:pt x="157" y="123"/>
                  </a:lnTo>
                  <a:lnTo>
                    <a:pt x="157" y="124"/>
                  </a:lnTo>
                  <a:lnTo>
                    <a:pt x="156" y="124"/>
                  </a:lnTo>
                  <a:lnTo>
                    <a:pt x="156" y="125"/>
                  </a:lnTo>
                  <a:lnTo>
                    <a:pt x="157" y="126"/>
                  </a:lnTo>
                  <a:lnTo>
                    <a:pt x="157" y="126"/>
                  </a:lnTo>
                  <a:lnTo>
                    <a:pt x="157" y="127"/>
                  </a:lnTo>
                  <a:lnTo>
                    <a:pt x="157" y="127"/>
                  </a:lnTo>
                  <a:lnTo>
                    <a:pt x="158" y="128"/>
                  </a:lnTo>
                  <a:lnTo>
                    <a:pt x="158" y="128"/>
                  </a:lnTo>
                  <a:lnTo>
                    <a:pt x="158" y="129"/>
                  </a:lnTo>
                  <a:lnTo>
                    <a:pt x="158" y="129"/>
                  </a:lnTo>
                  <a:lnTo>
                    <a:pt x="158" y="130"/>
                  </a:lnTo>
                  <a:lnTo>
                    <a:pt x="158" y="130"/>
                  </a:lnTo>
                  <a:lnTo>
                    <a:pt x="158" y="130"/>
                  </a:lnTo>
                  <a:lnTo>
                    <a:pt x="158" y="130"/>
                  </a:lnTo>
                  <a:lnTo>
                    <a:pt x="157" y="130"/>
                  </a:lnTo>
                  <a:lnTo>
                    <a:pt x="157" y="130"/>
                  </a:lnTo>
                  <a:lnTo>
                    <a:pt x="157" y="130"/>
                  </a:lnTo>
                  <a:lnTo>
                    <a:pt x="156" y="130"/>
                  </a:lnTo>
                  <a:lnTo>
                    <a:pt x="156" y="130"/>
                  </a:lnTo>
                  <a:lnTo>
                    <a:pt x="155" y="130"/>
                  </a:lnTo>
                  <a:lnTo>
                    <a:pt x="155" y="130"/>
                  </a:lnTo>
                  <a:lnTo>
                    <a:pt x="154" y="130"/>
                  </a:lnTo>
                  <a:lnTo>
                    <a:pt x="154" y="130"/>
                  </a:lnTo>
                  <a:lnTo>
                    <a:pt x="154" y="130"/>
                  </a:lnTo>
                  <a:lnTo>
                    <a:pt x="153" y="130"/>
                  </a:lnTo>
                  <a:lnTo>
                    <a:pt x="153" y="131"/>
                  </a:lnTo>
                  <a:lnTo>
                    <a:pt x="153" y="131"/>
                  </a:lnTo>
                  <a:lnTo>
                    <a:pt x="153" y="131"/>
                  </a:lnTo>
                  <a:lnTo>
                    <a:pt x="153" y="132"/>
                  </a:lnTo>
                  <a:lnTo>
                    <a:pt x="153" y="133"/>
                  </a:lnTo>
                  <a:lnTo>
                    <a:pt x="153" y="135"/>
                  </a:lnTo>
                  <a:lnTo>
                    <a:pt x="153" y="136"/>
                  </a:lnTo>
                  <a:lnTo>
                    <a:pt x="153" y="137"/>
                  </a:lnTo>
                  <a:lnTo>
                    <a:pt x="153" y="137"/>
                  </a:lnTo>
                  <a:lnTo>
                    <a:pt x="153" y="138"/>
                  </a:lnTo>
                  <a:lnTo>
                    <a:pt x="154" y="139"/>
                  </a:lnTo>
                  <a:lnTo>
                    <a:pt x="154" y="140"/>
                  </a:lnTo>
                  <a:lnTo>
                    <a:pt x="155" y="141"/>
                  </a:lnTo>
                  <a:lnTo>
                    <a:pt x="155" y="142"/>
                  </a:lnTo>
                  <a:lnTo>
                    <a:pt x="156" y="143"/>
                  </a:lnTo>
                  <a:lnTo>
                    <a:pt x="156" y="144"/>
                  </a:lnTo>
                  <a:lnTo>
                    <a:pt x="156" y="145"/>
                  </a:lnTo>
                  <a:lnTo>
                    <a:pt x="157" y="145"/>
                  </a:lnTo>
                  <a:lnTo>
                    <a:pt x="156" y="145"/>
                  </a:lnTo>
                  <a:lnTo>
                    <a:pt x="156" y="145"/>
                  </a:lnTo>
                  <a:lnTo>
                    <a:pt x="156" y="145"/>
                  </a:lnTo>
                  <a:lnTo>
                    <a:pt x="155" y="145"/>
                  </a:lnTo>
                  <a:lnTo>
                    <a:pt x="155" y="145"/>
                  </a:lnTo>
                  <a:lnTo>
                    <a:pt x="154" y="145"/>
                  </a:lnTo>
                  <a:lnTo>
                    <a:pt x="153" y="145"/>
                  </a:lnTo>
                  <a:lnTo>
                    <a:pt x="152" y="145"/>
                  </a:lnTo>
                  <a:lnTo>
                    <a:pt x="151" y="145"/>
                  </a:lnTo>
                  <a:lnTo>
                    <a:pt x="152" y="145"/>
                  </a:lnTo>
                  <a:lnTo>
                    <a:pt x="152" y="145"/>
                  </a:lnTo>
                  <a:lnTo>
                    <a:pt x="152" y="144"/>
                  </a:lnTo>
                  <a:lnTo>
                    <a:pt x="151" y="144"/>
                  </a:lnTo>
                  <a:lnTo>
                    <a:pt x="151" y="144"/>
                  </a:lnTo>
                  <a:lnTo>
                    <a:pt x="151" y="144"/>
                  </a:lnTo>
                  <a:lnTo>
                    <a:pt x="151" y="144"/>
                  </a:lnTo>
                  <a:lnTo>
                    <a:pt x="150" y="144"/>
                  </a:lnTo>
                  <a:lnTo>
                    <a:pt x="149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7" y="142"/>
                  </a:lnTo>
                  <a:lnTo>
                    <a:pt x="146" y="142"/>
                  </a:lnTo>
                  <a:lnTo>
                    <a:pt x="146" y="142"/>
                  </a:lnTo>
                  <a:lnTo>
                    <a:pt x="145" y="142"/>
                  </a:lnTo>
                  <a:lnTo>
                    <a:pt x="145" y="142"/>
                  </a:lnTo>
                  <a:lnTo>
                    <a:pt x="144" y="142"/>
                  </a:lnTo>
                  <a:lnTo>
                    <a:pt x="144" y="142"/>
                  </a:lnTo>
                  <a:lnTo>
                    <a:pt x="143" y="142"/>
                  </a:lnTo>
                  <a:lnTo>
                    <a:pt x="141" y="142"/>
                  </a:lnTo>
                  <a:lnTo>
                    <a:pt x="140" y="142"/>
                  </a:lnTo>
                  <a:lnTo>
                    <a:pt x="138" y="142"/>
                  </a:lnTo>
                  <a:lnTo>
                    <a:pt x="137" y="142"/>
                  </a:lnTo>
                  <a:lnTo>
                    <a:pt x="136" y="142"/>
                  </a:lnTo>
                  <a:lnTo>
                    <a:pt x="135" y="141"/>
                  </a:lnTo>
                  <a:lnTo>
                    <a:pt x="135" y="141"/>
                  </a:lnTo>
                  <a:lnTo>
                    <a:pt x="134" y="141"/>
                  </a:lnTo>
                  <a:lnTo>
                    <a:pt x="134" y="140"/>
                  </a:lnTo>
                  <a:lnTo>
                    <a:pt x="134" y="140"/>
                  </a:lnTo>
                  <a:lnTo>
                    <a:pt x="133" y="139"/>
                  </a:lnTo>
                  <a:lnTo>
                    <a:pt x="133" y="139"/>
                  </a:lnTo>
                  <a:lnTo>
                    <a:pt x="133" y="138"/>
                  </a:lnTo>
                  <a:lnTo>
                    <a:pt x="133" y="138"/>
                  </a:lnTo>
                  <a:lnTo>
                    <a:pt x="133" y="137"/>
                  </a:lnTo>
                  <a:lnTo>
                    <a:pt x="133" y="137"/>
                  </a:lnTo>
                  <a:lnTo>
                    <a:pt x="133" y="137"/>
                  </a:lnTo>
                  <a:lnTo>
                    <a:pt x="132" y="137"/>
                  </a:lnTo>
                  <a:lnTo>
                    <a:pt x="132" y="137"/>
                  </a:lnTo>
                  <a:lnTo>
                    <a:pt x="128" y="137"/>
                  </a:lnTo>
                  <a:lnTo>
                    <a:pt x="125" y="137"/>
                  </a:lnTo>
                  <a:lnTo>
                    <a:pt x="121" y="137"/>
                  </a:lnTo>
                  <a:lnTo>
                    <a:pt x="118" y="137"/>
                  </a:lnTo>
                  <a:lnTo>
                    <a:pt x="118" y="136"/>
                  </a:lnTo>
                  <a:lnTo>
                    <a:pt x="118" y="136"/>
                  </a:lnTo>
                  <a:lnTo>
                    <a:pt x="118" y="136"/>
                  </a:lnTo>
                  <a:lnTo>
                    <a:pt x="118" y="136"/>
                  </a:lnTo>
                  <a:lnTo>
                    <a:pt x="118" y="135"/>
                  </a:lnTo>
                  <a:lnTo>
                    <a:pt x="117" y="135"/>
                  </a:lnTo>
                  <a:lnTo>
                    <a:pt x="117" y="135"/>
                  </a:lnTo>
                  <a:lnTo>
                    <a:pt x="114" y="136"/>
                  </a:lnTo>
                  <a:lnTo>
                    <a:pt x="112" y="136"/>
                  </a:lnTo>
                  <a:lnTo>
                    <a:pt x="110" y="136"/>
                  </a:lnTo>
                  <a:lnTo>
                    <a:pt x="107" y="137"/>
                  </a:lnTo>
                  <a:lnTo>
                    <a:pt x="105" y="137"/>
                  </a:lnTo>
                  <a:lnTo>
                    <a:pt x="102" y="137"/>
                  </a:lnTo>
                  <a:lnTo>
                    <a:pt x="101" y="137"/>
                  </a:lnTo>
                  <a:lnTo>
                    <a:pt x="99" y="137"/>
                  </a:lnTo>
                  <a:lnTo>
                    <a:pt x="98" y="137"/>
                  </a:lnTo>
                  <a:lnTo>
                    <a:pt x="97" y="137"/>
                  </a:lnTo>
                  <a:lnTo>
                    <a:pt x="96" y="137"/>
                  </a:lnTo>
                  <a:lnTo>
                    <a:pt x="95" y="137"/>
                  </a:lnTo>
                  <a:lnTo>
                    <a:pt x="94" y="137"/>
                  </a:lnTo>
                  <a:lnTo>
                    <a:pt x="93" y="137"/>
                  </a:lnTo>
                  <a:lnTo>
                    <a:pt x="93" y="137"/>
                  </a:lnTo>
                  <a:lnTo>
                    <a:pt x="92" y="137"/>
                  </a:lnTo>
                  <a:lnTo>
                    <a:pt x="92" y="137"/>
                  </a:lnTo>
                  <a:lnTo>
                    <a:pt x="92" y="138"/>
                  </a:lnTo>
                  <a:lnTo>
                    <a:pt x="92" y="138"/>
                  </a:lnTo>
                  <a:lnTo>
                    <a:pt x="92" y="138"/>
                  </a:lnTo>
                  <a:lnTo>
                    <a:pt x="92" y="139"/>
                  </a:lnTo>
                  <a:lnTo>
                    <a:pt x="90" y="139"/>
                  </a:lnTo>
                  <a:lnTo>
                    <a:pt x="89" y="139"/>
                  </a:lnTo>
                  <a:lnTo>
                    <a:pt x="88" y="139"/>
                  </a:lnTo>
                  <a:lnTo>
                    <a:pt x="87" y="139"/>
                  </a:lnTo>
                  <a:lnTo>
                    <a:pt x="86" y="138"/>
                  </a:lnTo>
                  <a:lnTo>
                    <a:pt x="86" y="138"/>
                  </a:lnTo>
                  <a:lnTo>
                    <a:pt x="84" y="138"/>
                  </a:lnTo>
                  <a:lnTo>
                    <a:pt x="83" y="137"/>
                  </a:lnTo>
                  <a:lnTo>
                    <a:pt x="82" y="137"/>
                  </a:lnTo>
                  <a:lnTo>
                    <a:pt x="81" y="137"/>
                  </a:lnTo>
                  <a:lnTo>
                    <a:pt x="80" y="137"/>
                  </a:lnTo>
                  <a:lnTo>
                    <a:pt x="79" y="137"/>
                  </a:lnTo>
                  <a:lnTo>
                    <a:pt x="78" y="137"/>
                  </a:lnTo>
                  <a:lnTo>
                    <a:pt x="77" y="137"/>
                  </a:lnTo>
                  <a:lnTo>
                    <a:pt x="76" y="137"/>
                  </a:lnTo>
                  <a:lnTo>
                    <a:pt x="76" y="137"/>
                  </a:lnTo>
                  <a:lnTo>
                    <a:pt x="75" y="137"/>
                  </a:lnTo>
                  <a:lnTo>
                    <a:pt x="75" y="137"/>
                  </a:lnTo>
                  <a:lnTo>
                    <a:pt x="75" y="137"/>
                  </a:lnTo>
                  <a:lnTo>
                    <a:pt x="75" y="138"/>
                  </a:lnTo>
                  <a:lnTo>
                    <a:pt x="75" y="138"/>
                  </a:lnTo>
                  <a:lnTo>
                    <a:pt x="75" y="139"/>
                  </a:lnTo>
                  <a:lnTo>
                    <a:pt x="75" y="139"/>
                  </a:lnTo>
                  <a:lnTo>
                    <a:pt x="74" y="139"/>
                  </a:lnTo>
                  <a:lnTo>
                    <a:pt x="74" y="139"/>
                  </a:lnTo>
                  <a:lnTo>
                    <a:pt x="74" y="139"/>
                  </a:lnTo>
                  <a:lnTo>
                    <a:pt x="73" y="139"/>
                  </a:lnTo>
                  <a:lnTo>
                    <a:pt x="73" y="139"/>
                  </a:lnTo>
                  <a:lnTo>
                    <a:pt x="72" y="139"/>
                  </a:lnTo>
                  <a:lnTo>
                    <a:pt x="72" y="139"/>
                  </a:lnTo>
                  <a:lnTo>
                    <a:pt x="72" y="139"/>
                  </a:lnTo>
                  <a:lnTo>
                    <a:pt x="72" y="139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70" y="140"/>
                  </a:lnTo>
                  <a:lnTo>
                    <a:pt x="70" y="140"/>
                  </a:lnTo>
                  <a:lnTo>
                    <a:pt x="69" y="140"/>
                  </a:lnTo>
                  <a:lnTo>
                    <a:pt x="68" y="140"/>
                  </a:lnTo>
                  <a:lnTo>
                    <a:pt x="67" y="140"/>
                  </a:lnTo>
                  <a:lnTo>
                    <a:pt x="66" y="140"/>
                  </a:lnTo>
                  <a:lnTo>
                    <a:pt x="64" y="140"/>
                  </a:lnTo>
                  <a:lnTo>
                    <a:pt x="61" y="140"/>
                  </a:lnTo>
                  <a:lnTo>
                    <a:pt x="60" y="140"/>
                  </a:lnTo>
                  <a:lnTo>
                    <a:pt x="59" y="140"/>
                  </a:lnTo>
                  <a:lnTo>
                    <a:pt x="58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6" y="141"/>
                  </a:lnTo>
                  <a:lnTo>
                    <a:pt x="55" y="141"/>
                  </a:lnTo>
                  <a:lnTo>
                    <a:pt x="55" y="142"/>
                  </a:lnTo>
                  <a:lnTo>
                    <a:pt x="55" y="142"/>
                  </a:lnTo>
                  <a:lnTo>
                    <a:pt x="54" y="142"/>
                  </a:lnTo>
                  <a:lnTo>
                    <a:pt x="54" y="142"/>
                  </a:lnTo>
                  <a:lnTo>
                    <a:pt x="53" y="142"/>
                  </a:lnTo>
                  <a:lnTo>
                    <a:pt x="53" y="142"/>
                  </a:lnTo>
                  <a:lnTo>
                    <a:pt x="52" y="142"/>
                  </a:lnTo>
                  <a:lnTo>
                    <a:pt x="52" y="143"/>
                  </a:lnTo>
                  <a:lnTo>
                    <a:pt x="52" y="143"/>
                  </a:lnTo>
                  <a:lnTo>
                    <a:pt x="52" y="143"/>
                  </a:lnTo>
                  <a:lnTo>
                    <a:pt x="52" y="144"/>
                  </a:lnTo>
                  <a:lnTo>
                    <a:pt x="51" y="144"/>
                  </a:lnTo>
                  <a:lnTo>
                    <a:pt x="51" y="143"/>
                  </a:lnTo>
                  <a:lnTo>
                    <a:pt x="50" y="144"/>
                  </a:lnTo>
                  <a:lnTo>
                    <a:pt x="50" y="144"/>
                  </a:lnTo>
                  <a:lnTo>
                    <a:pt x="50" y="144"/>
                  </a:lnTo>
                  <a:lnTo>
                    <a:pt x="50" y="145"/>
                  </a:lnTo>
                  <a:lnTo>
                    <a:pt x="50" y="145"/>
                  </a:lnTo>
                  <a:lnTo>
                    <a:pt x="50" y="145"/>
                  </a:lnTo>
                  <a:lnTo>
                    <a:pt x="49" y="145"/>
                  </a:lnTo>
                  <a:lnTo>
                    <a:pt x="48" y="145"/>
                  </a:lnTo>
                  <a:lnTo>
                    <a:pt x="46" y="145"/>
                  </a:lnTo>
                  <a:lnTo>
                    <a:pt x="45" y="145"/>
                  </a:lnTo>
                  <a:lnTo>
                    <a:pt x="45" y="145"/>
                  </a:lnTo>
                  <a:lnTo>
                    <a:pt x="44" y="144"/>
                  </a:lnTo>
                  <a:lnTo>
                    <a:pt x="44" y="144"/>
                  </a:lnTo>
                  <a:lnTo>
                    <a:pt x="44" y="143"/>
                  </a:lnTo>
                  <a:lnTo>
                    <a:pt x="43" y="143"/>
                  </a:lnTo>
                  <a:lnTo>
                    <a:pt x="43" y="142"/>
                  </a:lnTo>
                  <a:lnTo>
                    <a:pt x="43" y="140"/>
                  </a:lnTo>
                  <a:lnTo>
                    <a:pt x="43" y="139"/>
                  </a:lnTo>
                  <a:lnTo>
                    <a:pt x="43" y="137"/>
                  </a:lnTo>
                  <a:lnTo>
                    <a:pt x="43" y="135"/>
                  </a:lnTo>
                  <a:lnTo>
                    <a:pt x="43" y="134"/>
                  </a:lnTo>
                  <a:lnTo>
                    <a:pt x="42" y="133"/>
                  </a:lnTo>
                  <a:lnTo>
                    <a:pt x="41" y="131"/>
                  </a:lnTo>
                  <a:lnTo>
                    <a:pt x="40" y="130"/>
                  </a:lnTo>
                  <a:lnTo>
                    <a:pt x="40" y="129"/>
                  </a:lnTo>
                  <a:lnTo>
                    <a:pt x="39" y="128"/>
                  </a:lnTo>
                  <a:lnTo>
                    <a:pt x="38" y="126"/>
                  </a:lnTo>
                  <a:lnTo>
                    <a:pt x="38" y="125"/>
                  </a:lnTo>
                  <a:lnTo>
                    <a:pt x="37" y="123"/>
                  </a:lnTo>
                  <a:lnTo>
                    <a:pt x="36" y="120"/>
                  </a:lnTo>
                  <a:lnTo>
                    <a:pt x="35" y="117"/>
                  </a:lnTo>
                  <a:lnTo>
                    <a:pt x="34" y="114"/>
                  </a:lnTo>
                  <a:lnTo>
                    <a:pt x="33" y="111"/>
                  </a:lnTo>
                  <a:lnTo>
                    <a:pt x="33" y="110"/>
                  </a:lnTo>
                  <a:lnTo>
                    <a:pt x="32" y="109"/>
                  </a:lnTo>
                  <a:lnTo>
                    <a:pt x="32" y="108"/>
                  </a:lnTo>
                  <a:lnTo>
                    <a:pt x="31" y="107"/>
                  </a:lnTo>
                  <a:lnTo>
                    <a:pt x="30" y="106"/>
                  </a:lnTo>
                  <a:lnTo>
                    <a:pt x="30" y="106"/>
                  </a:lnTo>
                  <a:lnTo>
                    <a:pt x="29" y="105"/>
                  </a:lnTo>
                  <a:lnTo>
                    <a:pt x="28" y="105"/>
                  </a:lnTo>
                  <a:lnTo>
                    <a:pt x="27" y="104"/>
                  </a:lnTo>
                  <a:lnTo>
                    <a:pt x="26" y="104"/>
                  </a:lnTo>
                  <a:lnTo>
                    <a:pt x="24" y="103"/>
                  </a:lnTo>
                  <a:lnTo>
                    <a:pt x="22" y="103"/>
                  </a:lnTo>
                  <a:lnTo>
                    <a:pt x="20" y="102"/>
                  </a:lnTo>
                  <a:lnTo>
                    <a:pt x="18" y="100"/>
                  </a:lnTo>
                  <a:lnTo>
                    <a:pt x="16" y="98"/>
                  </a:lnTo>
                  <a:lnTo>
                    <a:pt x="13" y="93"/>
                  </a:lnTo>
                  <a:lnTo>
                    <a:pt x="11" y="91"/>
                  </a:lnTo>
                  <a:lnTo>
                    <a:pt x="9" y="89"/>
                  </a:lnTo>
                  <a:lnTo>
                    <a:pt x="7" y="86"/>
                  </a:lnTo>
                  <a:lnTo>
                    <a:pt x="6" y="84"/>
                  </a:lnTo>
                  <a:lnTo>
                    <a:pt x="4" y="81"/>
                  </a:lnTo>
                  <a:lnTo>
                    <a:pt x="4" y="80"/>
                  </a:lnTo>
                  <a:lnTo>
                    <a:pt x="3" y="78"/>
                  </a:lnTo>
                  <a:lnTo>
                    <a:pt x="3" y="77"/>
                  </a:lnTo>
                  <a:lnTo>
                    <a:pt x="2" y="76"/>
                  </a:lnTo>
                  <a:lnTo>
                    <a:pt x="1" y="74"/>
                  </a:lnTo>
                  <a:lnTo>
                    <a:pt x="1" y="72"/>
                  </a:lnTo>
                  <a:lnTo>
                    <a:pt x="1" y="71"/>
                  </a:lnTo>
                  <a:lnTo>
                    <a:pt x="0" y="69"/>
                  </a:lnTo>
                  <a:lnTo>
                    <a:pt x="0" y="67"/>
                  </a:lnTo>
                  <a:lnTo>
                    <a:pt x="0" y="65"/>
                  </a:lnTo>
                  <a:lnTo>
                    <a:pt x="0" y="63"/>
                  </a:lnTo>
                  <a:lnTo>
                    <a:pt x="0" y="61"/>
                  </a:lnTo>
                  <a:lnTo>
                    <a:pt x="0" y="59"/>
                  </a:lnTo>
                  <a:lnTo>
                    <a:pt x="0" y="57"/>
                  </a:lnTo>
                  <a:lnTo>
                    <a:pt x="0" y="55"/>
                  </a:lnTo>
                  <a:lnTo>
                    <a:pt x="0" y="54"/>
                  </a:lnTo>
                  <a:lnTo>
                    <a:pt x="1" y="52"/>
                  </a:lnTo>
                  <a:lnTo>
                    <a:pt x="1" y="51"/>
                  </a:lnTo>
                  <a:lnTo>
                    <a:pt x="1" y="49"/>
                  </a:lnTo>
                  <a:lnTo>
                    <a:pt x="2" y="48"/>
                  </a:lnTo>
                  <a:lnTo>
                    <a:pt x="3" y="47"/>
                  </a:lnTo>
                  <a:lnTo>
                    <a:pt x="3" y="45"/>
                  </a:lnTo>
                  <a:lnTo>
                    <a:pt x="4" y="44"/>
                  </a:lnTo>
                  <a:lnTo>
                    <a:pt x="5" y="43"/>
                  </a:lnTo>
                  <a:lnTo>
                    <a:pt x="6" y="42"/>
                  </a:lnTo>
                  <a:lnTo>
                    <a:pt x="7" y="40"/>
                  </a:lnTo>
                  <a:lnTo>
                    <a:pt x="8" y="39"/>
                  </a:lnTo>
                  <a:lnTo>
                    <a:pt x="9" y="38"/>
                  </a:lnTo>
                  <a:lnTo>
                    <a:pt x="10" y="37"/>
                  </a:lnTo>
                  <a:lnTo>
                    <a:pt x="11" y="36"/>
                  </a:lnTo>
                  <a:lnTo>
                    <a:pt x="12" y="35"/>
                  </a:lnTo>
                  <a:lnTo>
                    <a:pt x="14" y="34"/>
                  </a:lnTo>
                  <a:lnTo>
                    <a:pt x="15" y="33"/>
                  </a:lnTo>
                  <a:lnTo>
                    <a:pt x="16" y="32"/>
                  </a:lnTo>
                  <a:lnTo>
                    <a:pt x="19" y="30"/>
                  </a:lnTo>
                  <a:lnTo>
                    <a:pt x="22" y="29"/>
                  </a:lnTo>
                  <a:lnTo>
                    <a:pt x="25" y="27"/>
                  </a:lnTo>
                  <a:lnTo>
                    <a:pt x="28" y="26"/>
                  </a:lnTo>
                  <a:lnTo>
                    <a:pt x="32" y="25"/>
                  </a:lnTo>
                  <a:lnTo>
                    <a:pt x="35" y="24"/>
                  </a:lnTo>
                  <a:lnTo>
                    <a:pt x="44" y="24"/>
                  </a:lnTo>
                  <a:lnTo>
                    <a:pt x="53" y="24"/>
                  </a:lnTo>
                  <a:lnTo>
                    <a:pt x="62" y="24"/>
                  </a:lnTo>
                  <a:lnTo>
                    <a:pt x="67" y="24"/>
                  </a:lnTo>
                  <a:lnTo>
                    <a:pt x="72" y="24"/>
                  </a:lnTo>
                  <a:lnTo>
                    <a:pt x="72" y="23"/>
                  </a:lnTo>
                  <a:lnTo>
                    <a:pt x="71" y="22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2" y="20"/>
                  </a:lnTo>
                  <a:lnTo>
                    <a:pt x="72" y="19"/>
                  </a:lnTo>
                  <a:lnTo>
                    <a:pt x="72" y="19"/>
                  </a:lnTo>
                  <a:lnTo>
                    <a:pt x="72" y="18"/>
                  </a:lnTo>
                  <a:lnTo>
                    <a:pt x="73" y="17"/>
                  </a:lnTo>
                  <a:lnTo>
                    <a:pt x="73" y="16"/>
                  </a:lnTo>
                  <a:lnTo>
                    <a:pt x="74" y="15"/>
                  </a:lnTo>
                  <a:lnTo>
                    <a:pt x="75" y="14"/>
                  </a:lnTo>
                  <a:lnTo>
                    <a:pt x="75" y="13"/>
                  </a:lnTo>
                  <a:lnTo>
                    <a:pt x="76" y="12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6" y="10"/>
                  </a:lnTo>
                  <a:lnTo>
                    <a:pt x="76" y="10"/>
                  </a:lnTo>
                  <a:lnTo>
                    <a:pt x="76" y="9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5" y="6"/>
                  </a:lnTo>
                  <a:lnTo>
                    <a:pt x="75" y="6"/>
                  </a:lnTo>
                  <a:lnTo>
                    <a:pt x="76" y="5"/>
                  </a:lnTo>
                  <a:lnTo>
                    <a:pt x="77" y="4"/>
                  </a:lnTo>
                  <a:lnTo>
                    <a:pt x="78" y="3"/>
                  </a:lnTo>
                  <a:lnTo>
                    <a:pt x="79" y="2"/>
                  </a:lnTo>
                  <a:lnTo>
                    <a:pt x="81" y="2"/>
                  </a:lnTo>
                  <a:lnTo>
                    <a:pt x="82" y="1"/>
                  </a:lnTo>
                  <a:lnTo>
                    <a:pt x="83" y="1"/>
                  </a:lnTo>
                  <a:lnTo>
                    <a:pt x="84" y="0"/>
                  </a:lnTo>
                  <a:lnTo>
                    <a:pt x="85" y="0"/>
                  </a:lnTo>
                  <a:lnTo>
                    <a:pt x="87" y="0"/>
                  </a:lnTo>
                  <a:lnTo>
                    <a:pt x="88" y="0"/>
                  </a:lnTo>
                  <a:lnTo>
                    <a:pt x="89" y="0"/>
                  </a:lnTo>
                  <a:lnTo>
                    <a:pt x="91" y="0"/>
                  </a:lnTo>
                  <a:lnTo>
                    <a:pt x="92" y="0"/>
                  </a:lnTo>
                  <a:lnTo>
                    <a:pt x="93" y="0"/>
                  </a:lnTo>
                  <a:lnTo>
                    <a:pt x="95" y="0"/>
                  </a:lnTo>
                  <a:lnTo>
                    <a:pt x="96" y="0"/>
                  </a:lnTo>
                  <a:lnTo>
                    <a:pt x="98" y="0"/>
                  </a:lnTo>
                  <a:lnTo>
                    <a:pt x="100" y="1"/>
                  </a:lnTo>
                  <a:lnTo>
                    <a:pt x="103" y="1"/>
                  </a:lnTo>
                  <a:lnTo>
                    <a:pt x="106" y="2"/>
                  </a:lnTo>
                  <a:lnTo>
                    <a:pt x="109" y="3"/>
                  </a:lnTo>
                  <a:lnTo>
                    <a:pt x="111" y="4"/>
                  </a:lnTo>
                  <a:lnTo>
                    <a:pt x="114" y="5"/>
                  </a:lnTo>
                  <a:lnTo>
                    <a:pt x="117" y="6"/>
                  </a:lnTo>
                  <a:lnTo>
                    <a:pt x="117" y="5"/>
                  </a:lnTo>
                  <a:lnTo>
                    <a:pt x="118" y="5"/>
                  </a:lnTo>
                  <a:lnTo>
                    <a:pt x="119" y="5"/>
                  </a:lnTo>
                  <a:lnTo>
                    <a:pt x="119" y="5"/>
                  </a:lnTo>
                  <a:lnTo>
                    <a:pt x="120" y="5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1" y="4"/>
                  </a:lnTo>
                  <a:lnTo>
                    <a:pt x="121" y="4"/>
                  </a:lnTo>
                  <a:lnTo>
                    <a:pt x="121" y="4"/>
                  </a:lnTo>
                  <a:lnTo>
                    <a:pt x="122" y="4"/>
                  </a:lnTo>
                  <a:lnTo>
                    <a:pt x="122" y="4"/>
                  </a:lnTo>
                  <a:lnTo>
                    <a:pt x="122" y="4"/>
                  </a:lnTo>
                  <a:lnTo>
                    <a:pt x="122" y="4"/>
                  </a:lnTo>
                  <a:lnTo>
                    <a:pt x="122" y="4"/>
                  </a:lnTo>
                  <a:lnTo>
                    <a:pt x="123" y="4"/>
                  </a:lnTo>
                  <a:lnTo>
                    <a:pt x="123" y="3"/>
                  </a:lnTo>
                  <a:lnTo>
                    <a:pt x="123" y="3"/>
                  </a:lnTo>
                  <a:lnTo>
                    <a:pt x="124" y="3"/>
                  </a:lnTo>
                  <a:lnTo>
                    <a:pt x="124" y="3"/>
                  </a:lnTo>
                  <a:lnTo>
                    <a:pt x="125" y="3"/>
                  </a:lnTo>
                  <a:lnTo>
                    <a:pt x="125" y="3"/>
                  </a:lnTo>
                  <a:lnTo>
                    <a:pt x="125" y="3"/>
                  </a:lnTo>
                  <a:lnTo>
                    <a:pt x="126" y="2"/>
                  </a:lnTo>
                  <a:lnTo>
                    <a:pt x="127" y="2"/>
                  </a:lnTo>
                </a:path>
              </a:pathLst>
            </a:custGeom>
            <a:grpFill/>
            <a:ln w="3175" cap="flat" cmpd="sng">
              <a:solidFill>
                <a:schemeClr val="accent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algn="ctr" defTabSz="781394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800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49" name="Freeform 11"/>
            <p:cNvSpPr>
              <a:spLocks/>
            </p:cNvSpPr>
            <p:nvPr/>
          </p:nvSpPr>
          <p:spPr bwMode="auto">
            <a:xfrm>
              <a:off x="1772860" y="3653644"/>
              <a:ext cx="1483074" cy="1339653"/>
            </a:xfrm>
            <a:custGeom>
              <a:avLst/>
              <a:gdLst/>
              <a:ahLst/>
              <a:cxnLst>
                <a:cxn ang="0">
                  <a:pos x="107" y="35"/>
                </a:cxn>
                <a:cxn ang="0">
                  <a:pos x="125" y="42"/>
                </a:cxn>
                <a:cxn ang="0">
                  <a:pos x="152" y="58"/>
                </a:cxn>
                <a:cxn ang="0">
                  <a:pos x="180" y="59"/>
                </a:cxn>
                <a:cxn ang="0">
                  <a:pos x="185" y="69"/>
                </a:cxn>
                <a:cxn ang="0">
                  <a:pos x="183" y="80"/>
                </a:cxn>
                <a:cxn ang="0">
                  <a:pos x="189" y="87"/>
                </a:cxn>
                <a:cxn ang="0">
                  <a:pos x="190" y="110"/>
                </a:cxn>
                <a:cxn ang="0">
                  <a:pos x="198" y="117"/>
                </a:cxn>
                <a:cxn ang="0">
                  <a:pos x="197" y="131"/>
                </a:cxn>
                <a:cxn ang="0">
                  <a:pos x="193" y="139"/>
                </a:cxn>
                <a:cxn ang="0">
                  <a:pos x="195" y="145"/>
                </a:cxn>
                <a:cxn ang="0">
                  <a:pos x="165" y="163"/>
                </a:cxn>
                <a:cxn ang="0">
                  <a:pos x="160" y="156"/>
                </a:cxn>
                <a:cxn ang="0">
                  <a:pos x="161" y="151"/>
                </a:cxn>
                <a:cxn ang="0">
                  <a:pos x="159" y="149"/>
                </a:cxn>
                <a:cxn ang="0">
                  <a:pos x="157" y="150"/>
                </a:cxn>
                <a:cxn ang="0">
                  <a:pos x="151" y="151"/>
                </a:cxn>
                <a:cxn ang="0">
                  <a:pos x="151" y="147"/>
                </a:cxn>
                <a:cxn ang="0">
                  <a:pos x="147" y="140"/>
                </a:cxn>
                <a:cxn ang="0">
                  <a:pos x="144" y="137"/>
                </a:cxn>
                <a:cxn ang="0">
                  <a:pos x="139" y="134"/>
                </a:cxn>
                <a:cxn ang="0">
                  <a:pos x="135" y="129"/>
                </a:cxn>
                <a:cxn ang="0">
                  <a:pos x="132" y="125"/>
                </a:cxn>
                <a:cxn ang="0">
                  <a:pos x="129" y="127"/>
                </a:cxn>
                <a:cxn ang="0">
                  <a:pos x="125" y="129"/>
                </a:cxn>
                <a:cxn ang="0">
                  <a:pos x="118" y="132"/>
                </a:cxn>
                <a:cxn ang="0">
                  <a:pos x="113" y="130"/>
                </a:cxn>
                <a:cxn ang="0">
                  <a:pos x="99" y="128"/>
                </a:cxn>
                <a:cxn ang="0">
                  <a:pos x="93" y="127"/>
                </a:cxn>
                <a:cxn ang="0">
                  <a:pos x="88" y="128"/>
                </a:cxn>
                <a:cxn ang="0">
                  <a:pos x="78" y="129"/>
                </a:cxn>
                <a:cxn ang="0">
                  <a:pos x="65" y="128"/>
                </a:cxn>
                <a:cxn ang="0">
                  <a:pos x="61" y="124"/>
                </a:cxn>
                <a:cxn ang="0">
                  <a:pos x="59" y="121"/>
                </a:cxn>
                <a:cxn ang="0">
                  <a:pos x="56" y="116"/>
                </a:cxn>
                <a:cxn ang="0">
                  <a:pos x="51" y="110"/>
                </a:cxn>
                <a:cxn ang="0">
                  <a:pos x="50" y="102"/>
                </a:cxn>
                <a:cxn ang="0">
                  <a:pos x="46" y="99"/>
                </a:cxn>
                <a:cxn ang="0">
                  <a:pos x="42" y="97"/>
                </a:cxn>
                <a:cxn ang="0">
                  <a:pos x="38" y="92"/>
                </a:cxn>
                <a:cxn ang="0">
                  <a:pos x="35" y="90"/>
                </a:cxn>
                <a:cxn ang="0">
                  <a:pos x="28" y="84"/>
                </a:cxn>
                <a:cxn ang="0">
                  <a:pos x="24" y="82"/>
                </a:cxn>
                <a:cxn ang="0">
                  <a:pos x="20" y="77"/>
                </a:cxn>
                <a:cxn ang="0">
                  <a:pos x="17" y="75"/>
                </a:cxn>
                <a:cxn ang="0">
                  <a:pos x="10" y="69"/>
                </a:cxn>
                <a:cxn ang="0">
                  <a:pos x="7" y="67"/>
                </a:cxn>
                <a:cxn ang="0">
                  <a:pos x="2" y="63"/>
                </a:cxn>
                <a:cxn ang="0">
                  <a:pos x="0" y="59"/>
                </a:cxn>
                <a:cxn ang="0">
                  <a:pos x="8" y="49"/>
                </a:cxn>
                <a:cxn ang="0">
                  <a:pos x="18" y="41"/>
                </a:cxn>
                <a:cxn ang="0">
                  <a:pos x="35" y="26"/>
                </a:cxn>
                <a:cxn ang="0">
                  <a:pos x="44" y="18"/>
                </a:cxn>
                <a:cxn ang="0">
                  <a:pos x="51" y="20"/>
                </a:cxn>
                <a:cxn ang="0">
                  <a:pos x="59" y="5"/>
                </a:cxn>
                <a:cxn ang="0">
                  <a:pos x="70" y="1"/>
                </a:cxn>
                <a:cxn ang="0">
                  <a:pos x="81" y="11"/>
                </a:cxn>
                <a:cxn ang="0">
                  <a:pos x="92" y="24"/>
                </a:cxn>
              </a:cxnLst>
              <a:rect l="0" t="0" r="r" b="b"/>
              <a:pathLst>
                <a:path w="198" h="167">
                  <a:moveTo>
                    <a:pt x="98" y="25"/>
                  </a:moveTo>
                  <a:lnTo>
                    <a:pt x="99" y="27"/>
                  </a:lnTo>
                  <a:lnTo>
                    <a:pt x="99" y="28"/>
                  </a:lnTo>
                  <a:lnTo>
                    <a:pt x="100" y="30"/>
                  </a:lnTo>
                  <a:lnTo>
                    <a:pt x="101" y="31"/>
                  </a:lnTo>
                  <a:lnTo>
                    <a:pt x="102" y="32"/>
                  </a:lnTo>
                  <a:lnTo>
                    <a:pt x="103" y="33"/>
                  </a:lnTo>
                  <a:lnTo>
                    <a:pt x="104" y="34"/>
                  </a:lnTo>
                  <a:lnTo>
                    <a:pt x="106" y="35"/>
                  </a:lnTo>
                  <a:lnTo>
                    <a:pt x="107" y="35"/>
                  </a:lnTo>
                  <a:lnTo>
                    <a:pt x="109" y="36"/>
                  </a:lnTo>
                  <a:lnTo>
                    <a:pt x="110" y="37"/>
                  </a:lnTo>
                  <a:lnTo>
                    <a:pt x="112" y="37"/>
                  </a:lnTo>
                  <a:lnTo>
                    <a:pt x="114" y="38"/>
                  </a:lnTo>
                  <a:lnTo>
                    <a:pt x="116" y="38"/>
                  </a:lnTo>
                  <a:lnTo>
                    <a:pt x="118" y="38"/>
                  </a:lnTo>
                  <a:lnTo>
                    <a:pt x="120" y="39"/>
                  </a:lnTo>
                  <a:lnTo>
                    <a:pt x="121" y="40"/>
                  </a:lnTo>
                  <a:lnTo>
                    <a:pt x="123" y="41"/>
                  </a:lnTo>
                  <a:lnTo>
                    <a:pt x="125" y="42"/>
                  </a:lnTo>
                  <a:lnTo>
                    <a:pt x="127" y="44"/>
                  </a:lnTo>
                  <a:lnTo>
                    <a:pt x="131" y="46"/>
                  </a:lnTo>
                  <a:lnTo>
                    <a:pt x="134" y="48"/>
                  </a:lnTo>
                  <a:lnTo>
                    <a:pt x="138" y="51"/>
                  </a:lnTo>
                  <a:lnTo>
                    <a:pt x="142" y="53"/>
                  </a:lnTo>
                  <a:lnTo>
                    <a:pt x="144" y="54"/>
                  </a:lnTo>
                  <a:lnTo>
                    <a:pt x="146" y="56"/>
                  </a:lnTo>
                  <a:lnTo>
                    <a:pt x="148" y="57"/>
                  </a:lnTo>
                  <a:lnTo>
                    <a:pt x="149" y="58"/>
                  </a:lnTo>
                  <a:lnTo>
                    <a:pt x="152" y="58"/>
                  </a:lnTo>
                  <a:lnTo>
                    <a:pt x="154" y="58"/>
                  </a:lnTo>
                  <a:lnTo>
                    <a:pt x="157" y="58"/>
                  </a:lnTo>
                  <a:lnTo>
                    <a:pt x="159" y="58"/>
                  </a:lnTo>
                  <a:lnTo>
                    <a:pt x="164" y="58"/>
                  </a:lnTo>
                  <a:lnTo>
                    <a:pt x="169" y="58"/>
                  </a:lnTo>
                  <a:lnTo>
                    <a:pt x="171" y="58"/>
                  </a:lnTo>
                  <a:lnTo>
                    <a:pt x="174" y="58"/>
                  </a:lnTo>
                  <a:lnTo>
                    <a:pt x="176" y="58"/>
                  </a:lnTo>
                  <a:lnTo>
                    <a:pt x="178" y="58"/>
                  </a:lnTo>
                  <a:lnTo>
                    <a:pt x="180" y="59"/>
                  </a:lnTo>
                  <a:lnTo>
                    <a:pt x="182" y="59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86" y="61"/>
                  </a:lnTo>
                  <a:lnTo>
                    <a:pt x="186" y="63"/>
                  </a:lnTo>
                  <a:lnTo>
                    <a:pt x="186" y="64"/>
                  </a:lnTo>
                  <a:lnTo>
                    <a:pt x="186" y="65"/>
                  </a:lnTo>
                  <a:lnTo>
                    <a:pt x="186" y="66"/>
                  </a:lnTo>
                  <a:lnTo>
                    <a:pt x="186" y="67"/>
                  </a:lnTo>
                  <a:lnTo>
                    <a:pt x="185" y="69"/>
                  </a:lnTo>
                  <a:lnTo>
                    <a:pt x="184" y="71"/>
                  </a:lnTo>
                  <a:lnTo>
                    <a:pt x="184" y="73"/>
                  </a:lnTo>
                  <a:lnTo>
                    <a:pt x="183" y="75"/>
                  </a:lnTo>
                  <a:lnTo>
                    <a:pt x="183" y="76"/>
                  </a:lnTo>
                  <a:lnTo>
                    <a:pt x="183" y="77"/>
                  </a:lnTo>
                  <a:lnTo>
                    <a:pt x="183" y="77"/>
                  </a:lnTo>
                  <a:lnTo>
                    <a:pt x="183" y="78"/>
                  </a:lnTo>
                  <a:lnTo>
                    <a:pt x="183" y="79"/>
                  </a:lnTo>
                  <a:lnTo>
                    <a:pt x="183" y="79"/>
                  </a:lnTo>
                  <a:lnTo>
                    <a:pt x="183" y="80"/>
                  </a:lnTo>
                  <a:lnTo>
                    <a:pt x="183" y="81"/>
                  </a:lnTo>
                  <a:lnTo>
                    <a:pt x="184" y="82"/>
                  </a:lnTo>
                  <a:lnTo>
                    <a:pt x="184" y="82"/>
                  </a:lnTo>
                  <a:lnTo>
                    <a:pt x="185" y="83"/>
                  </a:lnTo>
                  <a:lnTo>
                    <a:pt x="185" y="84"/>
                  </a:lnTo>
                  <a:lnTo>
                    <a:pt x="187" y="85"/>
                  </a:lnTo>
                  <a:lnTo>
                    <a:pt x="187" y="85"/>
                  </a:lnTo>
                  <a:lnTo>
                    <a:pt x="188" y="86"/>
                  </a:lnTo>
                  <a:lnTo>
                    <a:pt x="188" y="86"/>
                  </a:lnTo>
                  <a:lnTo>
                    <a:pt x="189" y="87"/>
                  </a:lnTo>
                  <a:lnTo>
                    <a:pt x="189" y="88"/>
                  </a:lnTo>
                  <a:lnTo>
                    <a:pt x="189" y="88"/>
                  </a:lnTo>
                  <a:lnTo>
                    <a:pt x="189" y="93"/>
                  </a:lnTo>
                  <a:lnTo>
                    <a:pt x="189" y="98"/>
                  </a:lnTo>
                  <a:lnTo>
                    <a:pt x="189" y="102"/>
                  </a:lnTo>
                  <a:lnTo>
                    <a:pt x="189" y="107"/>
                  </a:lnTo>
                  <a:lnTo>
                    <a:pt x="190" y="108"/>
                  </a:lnTo>
                  <a:lnTo>
                    <a:pt x="190" y="109"/>
                  </a:lnTo>
                  <a:lnTo>
                    <a:pt x="190" y="110"/>
                  </a:lnTo>
                  <a:lnTo>
                    <a:pt x="190" y="110"/>
                  </a:lnTo>
                  <a:lnTo>
                    <a:pt x="191" y="111"/>
                  </a:lnTo>
                  <a:lnTo>
                    <a:pt x="191" y="112"/>
                  </a:lnTo>
                  <a:lnTo>
                    <a:pt x="192" y="112"/>
                  </a:lnTo>
                  <a:lnTo>
                    <a:pt x="193" y="113"/>
                  </a:lnTo>
                  <a:lnTo>
                    <a:pt x="194" y="113"/>
                  </a:lnTo>
                  <a:lnTo>
                    <a:pt x="195" y="114"/>
                  </a:lnTo>
                  <a:lnTo>
                    <a:pt x="196" y="115"/>
                  </a:lnTo>
                  <a:lnTo>
                    <a:pt x="197" y="115"/>
                  </a:lnTo>
                  <a:lnTo>
                    <a:pt x="197" y="116"/>
                  </a:lnTo>
                  <a:lnTo>
                    <a:pt x="198" y="117"/>
                  </a:lnTo>
                  <a:lnTo>
                    <a:pt x="198" y="118"/>
                  </a:lnTo>
                  <a:lnTo>
                    <a:pt x="198" y="120"/>
                  </a:lnTo>
                  <a:lnTo>
                    <a:pt x="198" y="122"/>
                  </a:lnTo>
                  <a:lnTo>
                    <a:pt x="198" y="123"/>
                  </a:lnTo>
                  <a:lnTo>
                    <a:pt x="198" y="125"/>
                  </a:lnTo>
                  <a:lnTo>
                    <a:pt x="198" y="126"/>
                  </a:lnTo>
                  <a:lnTo>
                    <a:pt x="198" y="127"/>
                  </a:lnTo>
                  <a:lnTo>
                    <a:pt x="198" y="129"/>
                  </a:lnTo>
                  <a:lnTo>
                    <a:pt x="197" y="130"/>
                  </a:lnTo>
                  <a:lnTo>
                    <a:pt x="197" y="131"/>
                  </a:lnTo>
                  <a:lnTo>
                    <a:pt x="196" y="132"/>
                  </a:lnTo>
                  <a:lnTo>
                    <a:pt x="196" y="133"/>
                  </a:lnTo>
                  <a:lnTo>
                    <a:pt x="195" y="134"/>
                  </a:lnTo>
                  <a:lnTo>
                    <a:pt x="195" y="135"/>
                  </a:lnTo>
                  <a:lnTo>
                    <a:pt x="194" y="136"/>
                  </a:lnTo>
                  <a:lnTo>
                    <a:pt x="193" y="137"/>
                  </a:lnTo>
                  <a:lnTo>
                    <a:pt x="193" y="137"/>
                  </a:lnTo>
                  <a:lnTo>
                    <a:pt x="192" y="138"/>
                  </a:lnTo>
                  <a:lnTo>
                    <a:pt x="192" y="139"/>
                  </a:lnTo>
                  <a:lnTo>
                    <a:pt x="193" y="139"/>
                  </a:lnTo>
                  <a:lnTo>
                    <a:pt x="193" y="140"/>
                  </a:lnTo>
                  <a:lnTo>
                    <a:pt x="193" y="140"/>
                  </a:lnTo>
                  <a:lnTo>
                    <a:pt x="193" y="141"/>
                  </a:lnTo>
                  <a:lnTo>
                    <a:pt x="194" y="142"/>
                  </a:lnTo>
                  <a:lnTo>
                    <a:pt x="194" y="142"/>
                  </a:lnTo>
                  <a:lnTo>
                    <a:pt x="194" y="143"/>
                  </a:lnTo>
                  <a:lnTo>
                    <a:pt x="195" y="143"/>
                  </a:lnTo>
                  <a:lnTo>
                    <a:pt x="195" y="144"/>
                  </a:lnTo>
                  <a:lnTo>
                    <a:pt x="195" y="144"/>
                  </a:lnTo>
                  <a:lnTo>
                    <a:pt x="195" y="145"/>
                  </a:lnTo>
                  <a:lnTo>
                    <a:pt x="192" y="146"/>
                  </a:lnTo>
                  <a:lnTo>
                    <a:pt x="190" y="148"/>
                  </a:lnTo>
                  <a:lnTo>
                    <a:pt x="188" y="149"/>
                  </a:lnTo>
                  <a:lnTo>
                    <a:pt x="186" y="150"/>
                  </a:lnTo>
                  <a:lnTo>
                    <a:pt x="182" y="153"/>
                  </a:lnTo>
                  <a:lnTo>
                    <a:pt x="178" y="156"/>
                  </a:lnTo>
                  <a:lnTo>
                    <a:pt x="173" y="158"/>
                  </a:lnTo>
                  <a:lnTo>
                    <a:pt x="169" y="161"/>
                  </a:lnTo>
                  <a:lnTo>
                    <a:pt x="167" y="162"/>
                  </a:lnTo>
                  <a:lnTo>
                    <a:pt x="165" y="163"/>
                  </a:lnTo>
                  <a:lnTo>
                    <a:pt x="163" y="165"/>
                  </a:lnTo>
                  <a:lnTo>
                    <a:pt x="161" y="167"/>
                  </a:lnTo>
                  <a:lnTo>
                    <a:pt x="161" y="167"/>
                  </a:lnTo>
                  <a:lnTo>
                    <a:pt x="160" y="167"/>
                  </a:lnTo>
                  <a:lnTo>
                    <a:pt x="160" y="167"/>
                  </a:lnTo>
                  <a:lnTo>
                    <a:pt x="159" y="167"/>
                  </a:lnTo>
                  <a:lnTo>
                    <a:pt x="159" y="157"/>
                  </a:lnTo>
                  <a:lnTo>
                    <a:pt x="160" y="157"/>
                  </a:lnTo>
                  <a:lnTo>
                    <a:pt x="160" y="156"/>
                  </a:lnTo>
                  <a:lnTo>
                    <a:pt x="160" y="156"/>
                  </a:lnTo>
                  <a:lnTo>
                    <a:pt x="160" y="156"/>
                  </a:lnTo>
                  <a:lnTo>
                    <a:pt x="161" y="156"/>
                  </a:lnTo>
                  <a:lnTo>
                    <a:pt x="161" y="155"/>
                  </a:lnTo>
                  <a:lnTo>
                    <a:pt x="161" y="155"/>
                  </a:lnTo>
                  <a:lnTo>
                    <a:pt x="161" y="154"/>
                  </a:lnTo>
                  <a:lnTo>
                    <a:pt x="161" y="153"/>
                  </a:lnTo>
                  <a:lnTo>
                    <a:pt x="161" y="152"/>
                  </a:lnTo>
                  <a:lnTo>
                    <a:pt x="161" y="152"/>
                  </a:lnTo>
                  <a:lnTo>
                    <a:pt x="161" y="151"/>
                  </a:lnTo>
                  <a:lnTo>
                    <a:pt x="161" y="151"/>
                  </a:lnTo>
                  <a:lnTo>
                    <a:pt x="161" y="150"/>
                  </a:lnTo>
                  <a:lnTo>
                    <a:pt x="161" y="150"/>
                  </a:lnTo>
                  <a:lnTo>
                    <a:pt x="160" y="150"/>
                  </a:lnTo>
                  <a:lnTo>
                    <a:pt x="160" y="150"/>
                  </a:lnTo>
                  <a:lnTo>
                    <a:pt x="160" y="150"/>
                  </a:lnTo>
                  <a:lnTo>
                    <a:pt x="159" y="150"/>
                  </a:lnTo>
                  <a:lnTo>
                    <a:pt x="159" y="150"/>
                  </a:lnTo>
                  <a:lnTo>
                    <a:pt x="159" y="149"/>
                  </a:lnTo>
                  <a:lnTo>
                    <a:pt x="159" y="149"/>
                  </a:lnTo>
                  <a:lnTo>
                    <a:pt x="159" y="149"/>
                  </a:lnTo>
                  <a:lnTo>
                    <a:pt x="159" y="149"/>
                  </a:lnTo>
                  <a:lnTo>
                    <a:pt x="159" y="149"/>
                  </a:lnTo>
                  <a:lnTo>
                    <a:pt x="159" y="149"/>
                  </a:lnTo>
                  <a:lnTo>
                    <a:pt x="158" y="149"/>
                  </a:lnTo>
                  <a:lnTo>
                    <a:pt x="158" y="149"/>
                  </a:lnTo>
                  <a:lnTo>
                    <a:pt x="158" y="149"/>
                  </a:lnTo>
                  <a:lnTo>
                    <a:pt x="158" y="150"/>
                  </a:lnTo>
                  <a:lnTo>
                    <a:pt x="158" y="150"/>
                  </a:lnTo>
                  <a:lnTo>
                    <a:pt x="158" y="150"/>
                  </a:lnTo>
                  <a:lnTo>
                    <a:pt x="157" y="150"/>
                  </a:lnTo>
                  <a:lnTo>
                    <a:pt x="157" y="151"/>
                  </a:lnTo>
                  <a:lnTo>
                    <a:pt x="156" y="151"/>
                  </a:lnTo>
                  <a:lnTo>
                    <a:pt x="155" y="151"/>
                  </a:lnTo>
                  <a:lnTo>
                    <a:pt x="155" y="151"/>
                  </a:lnTo>
                  <a:lnTo>
                    <a:pt x="154" y="152"/>
                  </a:lnTo>
                  <a:lnTo>
                    <a:pt x="153" y="152"/>
                  </a:lnTo>
                  <a:lnTo>
                    <a:pt x="153" y="152"/>
                  </a:lnTo>
                  <a:lnTo>
                    <a:pt x="152" y="152"/>
                  </a:lnTo>
                  <a:lnTo>
                    <a:pt x="152" y="151"/>
                  </a:lnTo>
                  <a:lnTo>
                    <a:pt x="151" y="151"/>
                  </a:lnTo>
                  <a:lnTo>
                    <a:pt x="151" y="151"/>
                  </a:lnTo>
                  <a:lnTo>
                    <a:pt x="151" y="150"/>
                  </a:lnTo>
                  <a:lnTo>
                    <a:pt x="151" y="150"/>
                  </a:lnTo>
                  <a:lnTo>
                    <a:pt x="151" y="150"/>
                  </a:lnTo>
                  <a:lnTo>
                    <a:pt x="151" y="149"/>
                  </a:lnTo>
                  <a:lnTo>
                    <a:pt x="151" y="149"/>
                  </a:lnTo>
                  <a:lnTo>
                    <a:pt x="151" y="148"/>
                  </a:lnTo>
                  <a:lnTo>
                    <a:pt x="151" y="148"/>
                  </a:lnTo>
                  <a:lnTo>
                    <a:pt x="151" y="147"/>
                  </a:lnTo>
                  <a:lnTo>
                    <a:pt x="151" y="147"/>
                  </a:lnTo>
                  <a:lnTo>
                    <a:pt x="151" y="147"/>
                  </a:lnTo>
                  <a:lnTo>
                    <a:pt x="151" y="147"/>
                  </a:lnTo>
                  <a:lnTo>
                    <a:pt x="150" y="147"/>
                  </a:lnTo>
                  <a:lnTo>
                    <a:pt x="149" y="147"/>
                  </a:lnTo>
                  <a:lnTo>
                    <a:pt x="149" y="145"/>
                  </a:lnTo>
                  <a:lnTo>
                    <a:pt x="149" y="144"/>
                  </a:lnTo>
                  <a:lnTo>
                    <a:pt x="149" y="143"/>
                  </a:lnTo>
                  <a:lnTo>
                    <a:pt x="148" y="141"/>
                  </a:lnTo>
                  <a:lnTo>
                    <a:pt x="147" y="140"/>
                  </a:lnTo>
                  <a:lnTo>
                    <a:pt x="147" y="140"/>
                  </a:lnTo>
                  <a:lnTo>
                    <a:pt x="146" y="139"/>
                  </a:lnTo>
                  <a:lnTo>
                    <a:pt x="146" y="139"/>
                  </a:lnTo>
                  <a:lnTo>
                    <a:pt x="145" y="138"/>
                  </a:lnTo>
                  <a:lnTo>
                    <a:pt x="145" y="138"/>
                  </a:lnTo>
                  <a:lnTo>
                    <a:pt x="145" y="138"/>
                  </a:lnTo>
                  <a:lnTo>
                    <a:pt x="145" y="137"/>
                  </a:lnTo>
                  <a:lnTo>
                    <a:pt x="144" y="137"/>
                  </a:lnTo>
                  <a:lnTo>
                    <a:pt x="144" y="137"/>
                  </a:lnTo>
                  <a:lnTo>
                    <a:pt x="144" y="137"/>
                  </a:lnTo>
                  <a:lnTo>
                    <a:pt x="144" y="137"/>
                  </a:lnTo>
                  <a:lnTo>
                    <a:pt x="143" y="137"/>
                  </a:lnTo>
                  <a:lnTo>
                    <a:pt x="142" y="137"/>
                  </a:lnTo>
                  <a:lnTo>
                    <a:pt x="142" y="137"/>
                  </a:lnTo>
                  <a:lnTo>
                    <a:pt x="142" y="137"/>
                  </a:lnTo>
                  <a:lnTo>
                    <a:pt x="141" y="137"/>
                  </a:lnTo>
                  <a:lnTo>
                    <a:pt x="141" y="136"/>
                  </a:lnTo>
                  <a:lnTo>
                    <a:pt x="141" y="135"/>
                  </a:lnTo>
                  <a:lnTo>
                    <a:pt x="140" y="135"/>
                  </a:lnTo>
                  <a:lnTo>
                    <a:pt x="140" y="135"/>
                  </a:lnTo>
                  <a:lnTo>
                    <a:pt x="139" y="134"/>
                  </a:lnTo>
                  <a:lnTo>
                    <a:pt x="139" y="134"/>
                  </a:lnTo>
                  <a:lnTo>
                    <a:pt x="138" y="133"/>
                  </a:lnTo>
                  <a:lnTo>
                    <a:pt x="138" y="133"/>
                  </a:lnTo>
                  <a:lnTo>
                    <a:pt x="138" y="132"/>
                  </a:lnTo>
                  <a:lnTo>
                    <a:pt x="137" y="132"/>
                  </a:lnTo>
                  <a:lnTo>
                    <a:pt x="137" y="131"/>
                  </a:lnTo>
                  <a:lnTo>
                    <a:pt x="136" y="131"/>
                  </a:lnTo>
                  <a:lnTo>
                    <a:pt x="136" y="130"/>
                  </a:lnTo>
                  <a:lnTo>
                    <a:pt x="135" y="130"/>
                  </a:lnTo>
                  <a:lnTo>
                    <a:pt x="135" y="129"/>
                  </a:lnTo>
                  <a:lnTo>
                    <a:pt x="135" y="129"/>
                  </a:lnTo>
                  <a:lnTo>
                    <a:pt x="134" y="128"/>
                  </a:lnTo>
                  <a:lnTo>
                    <a:pt x="134" y="128"/>
                  </a:lnTo>
                  <a:lnTo>
                    <a:pt x="134" y="127"/>
                  </a:lnTo>
                  <a:lnTo>
                    <a:pt x="134" y="127"/>
                  </a:lnTo>
                  <a:lnTo>
                    <a:pt x="134" y="126"/>
                  </a:lnTo>
                  <a:lnTo>
                    <a:pt x="133" y="126"/>
                  </a:lnTo>
                  <a:lnTo>
                    <a:pt x="133" y="125"/>
                  </a:lnTo>
                  <a:lnTo>
                    <a:pt x="133" y="125"/>
                  </a:lnTo>
                  <a:lnTo>
                    <a:pt x="132" y="125"/>
                  </a:lnTo>
                  <a:lnTo>
                    <a:pt x="132" y="125"/>
                  </a:lnTo>
                  <a:lnTo>
                    <a:pt x="131" y="125"/>
                  </a:lnTo>
                  <a:lnTo>
                    <a:pt x="131" y="125"/>
                  </a:lnTo>
                  <a:lnTo>
                    <a:pt x="130" y="125"/>
                  </a:lnTo>
                  <a:lnTo>
                    <a:pt x="130" y="126"/>
                  </a:lnTo>
                  <a:lnTo>
                    <a:pt x="130" y="126"/>
                  </a:lnTo>
                  <a:lnTo>
                    <a:pt x="130" y="126"/>
                  </a:lnTo>
                  <a:lnTo>
                    <a:pt x="130" y="127"/>
                  </a:lnTo>
                  <a:lnTo>
                    <a:pt x="129" y="127"/>
                  </a:lnTo>
                  <a:lnTo>
                    <a:pt x="129" y="127"/>
                  </a:lnTo>
                  <a:lnTo>
                    <a:pt x="128" y="127"/>
                  </a:lnTo>
                  <a:lnTo>
                    <a:pt x="128" y="127"/>
                  </a:lnTo>
                  <a:lnTo>
                    <a:pt x="127" y="128"/>
                  </a:lnTo>
                  <a:lnTo>
                    <a:pt x="127" y="128"/>
                  </a:lnTo>
                  <a:lnTo>
                    <a:pt x="126" y="128"/>
                  </a:lnTo>
                  <a:lnTo>
                    <a:pt x="126" y="128"/>
                  </a:lnTo>
                  <a:lnTo>
                    <a:pt x="125" y="128"/>
                  </a:lnTo>
                  <a:lnTo>
                    <a:pt x="125" y="128"/>
                  </a:lnTo>
                  <a:lnTo>
                    <a:pt x="125" y="128"/>
                  </a:lnTo>
                  <a:lnTo>
                    <a:pt x="125" y="129"/>
                  </a:lnTo>
                  <a:lnTo>
                    <a:pt x="125" y="129"/>
                  </a:lnTo>
                  <a:lnTo>
                    <a:pt x="124" y="129"/>
                  </a:lnTo>
                  <a:lnTo>
                    <a:pt x="124" y="130"/>
                  </a:lnTo>
                  <a:lnTo>
                    <a:pt x="124" y="130"/>
                  </a:lnTo>
                  <a:lnTo>
                    <a:pt x="123" y="131"/>
                  </a:lnTo>
                  <a:lnTo>
                    <a:pt x="122" y="131"/>
                  </a:lnTo>
                  <a:lnTo>
                    <a:pt x="121" y="131"/>
                  </a:lnTo>
                  <a:lnTo>
                    <a:pt x="120" y="132"/>
                  </a:lnTo>
                  <a:lnTo>
                    <a:pt x="119" y="132"/>
                  </a:lnTo>
                  <a:lnTo>
                    <a:pt x="118" y="132"/>
                  </a:lnTo>
                  <a:lnTo>
                    <a:pt x="116" y="132"/>
                  </a:lnTo>
                  <a:lnTo>
                    <a:pt x="116" y="131"/>
                  </a:lnTo>
                  <a:lnTo>
                    <a:pt x="116" y="131"/>
                  </a:lnTo>
                  <a:lnTo>
                    <a:pt x="116" y="131"/>
                  </a:lnTo>
                  <a:lnTo>
                    <a:pt x="115" y="131"/>
                  </a:lnTo>
                  <a:lnTo>
                    <a:pt x="115" y="130"/>
                  </a:lnTo>
                  <a:lnTo>
                    <a:pt x="114" y="130"/>
                  </a:lnTo>
                  <a:lnTo>
                    <a:pt x="114" y="130"/>
                  </a:lnTo>
                  <a:lnTo>
                    <a:pt x="113" y="130"/>
                  </a:lnTo>
                  <a:lnTo>
                    <a:pt x="113" y="130"/>
                  </a:lnTo>
                  <a:lnTo>
                    <a:pt x="110" y="130"/>
                  </a:lnTo>
                  <a:lnTo>
                    <a:pt x="106" y="130"/>
                  </a:lnTo>
                  <a:lnTo>
                    <a:pt x="103" y="130"/>
                  </a:lnTo>
                  <a:lnTo>
                    <a:pt x="100" y="130"/>
                  </a:lnTo>
                  <a:lnTo>
                    <a:pt x="100" y="129"/>
                  </a:lnTo>
                  <a:lnTo>
                    <a:pt x="100" y="129"/>
                  </a:lnTo>
                  <a:lnTo>
                    <a:pt x="99" y="129"/>
                  </a:lnTo>
                  <a:lnTo>
                    <a:pt x="99" y="128"/>
                  </a:lnTo>
                  <a:lnTo>
                    <a:pt x="99" y="128"/>
                  </a:lnTo>
                  <a:lnTo>
                    <a:pt x="99" y="128"/>
                  </a:lnTo>
                  <a:lnTo>
                    <a:pt x="98" y="128"/>
                  </a:lnTo>
                  <a:lnTo>
                    <a:pt x="97" y="128"/>
                  </a:lnTo>
                  <a:lnTo>
                    <a:pt x="97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5" y="128"/>
                  </a:lnTo>
                  <a:lnTo>
                    <a:pt x="94" y="127"/>
                  </a:lnTo>
                  <a:lnTo>
                    <a:pt x="94" y="127"/>
                  </a:lnTo>
                  <a:lnTo>
                    <a:pt x="93" y="127"/>
                  </a:lnTo>
                  <a:lnTo>
                    <a:pt x="93" y="127"/>
                  </a:lnTo>
                  <a:lnTo>
                    <a:pt x="92" y="127"/>
                  </a:lnTo>
                  <a:lnTo>
                    <a:pt x="92" y="127"/>
                  </a:lnTo>
                  <a:lnTo>
                    <a:pt x="91" y="127"/>
                  </a:lnTo>
                  <a:lnTo>
                    <a:pt x="90" y="127"/>
                  </a:lnTo>
                  <a:lnTo>
                    <a:pt x="90" y="127"/>
                  </a:lnTo>
                  <a:lnTo>
                    <a:pt x="89" y="127"/>
                  </a:lnTo>
                  <a:lnTo>
                    <a:pt x="89" y="127"/>
                  </a:lnTo>
                  <a:lnTo>
                    <a:pt x="89" y="127"/>
                  </a:lnTo>
                  <a:lnTo>
                    <a:pt x="88" y="127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6" y="128"/>
                  </a:lnTo>
                  <a:lnTo>
                    <a:pt x="84" y="128"/>
                  </a:lnTo>
                  <a:lnTo>
                    <a:pt x="82" y="128"/>
                  </a:lnTo>
                  <a:lnTo>
                    <a:pt x="80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8" y="128"/>
                  </a:lnTo>
                  <a:lnTo>
                    <a:pt x="78" y="128"/>
                  </a:lnTo>
                  <a:lnTo>
                    <a:pt x="78" y="129"/>
                  </a:lnTo>
                  <a:lnTo>
                    <a:pt x="78" y="129"/>
                  </a:lnTo>
                  <a:lnTo>
                    <a:pt x="78" y="129"/>
                  </a:lnTo>
                  <a:lnTo>
                    <a:pt x="78" y="130"/>
                  </a:lnTo>
                  <a:lnTo>
                    <a:pt x="68" y="130"/>
                  </a:lnTo>
                  <a:lnTo>
                    <a:pt x="67" y="130"/>
                  </a:lnTo>
                  <a:lnTo>
                    <a:pt x="67" y="130"/>
                  </a:lnTo>
                  <a:lnTo>
                    <a:pt x="66" y="129"/>
                  </a:lnTo>
                  <a:lnTo>
                    <a:pt x="66" y="129"/>
                  </a:lnTo>
                  <a:lnTo>
                    <a:pt x="65" y="129"/>
                  </a:lnTo>
                  <a:lnTo>
                    <a:pt x="65" y="128"/>
                  </a:lnTo>
                  <a:lnTo>
                    <a:pt x="65" y="128"/>
                  </a:lnTo>
                  <a:lnTo>
                    <a:pt x="65" y="128"/>
                  </a:lnTo>
                  <a:lnTo>
                    <a:pt x="64" y="127"/>
                  </a:lnTo>
                  <a:lnTo>
                    <a:pt x="64" y="127"/>
                  </a:lnTo>
                  <a:lnTo>
                    <a:pt x="63" y="126"/>
                  </a:lnTo>
                  <a:lnTo>
                    <a:pt x="63" y="126"/>
                  </a:lnTo>
                  <a:lnTo>
                    <a:pt x="62" y="125"/>
                  </a:lnTo>
                  <a:lnTo>
                    <a:pt x="62" y="125"/>
                  </a:lnTo>
                  <a:lnTo>
                    <a:pt x="62" y="124"/>
                  </a:lnTo>
                  <a:lnTo>
                    <a:pt x="61" y="124"/>
                  </a:lnTo>
                  <a:lnTo>
                    <a:pt x="61" y="123"/>
                  </a:lnTo>
                  <a:lnTo>
                    <a:pt x="61" y="123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59" y="121"/>
                  </a:lnTo>
                  <a:lnTo>
                    <a:pt x="59" y="121"/>
                  </a:lnTo>
                  <a:lnTo>
                    <a:pt x="59" y="120"/>
                  </a:lnTo>
                  <a:lnTo>
                    <a:pt x="58" y="120"/>
                  </a:lnTo>
                  <a:lnTo>
                    <a:pt x="58" y="119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6" y="116"/>
                  </a:lnTo>
                  <a:lnTo>
                    <a:pt x="56" y="116"/>
                  </a:lnTo>
                  <a:lnTo>
                    <a:pt x="56" y="115"/>
                  </a:lnTo>
                  <a:lnTo>
                    <a:pt x="56" y="115"/>
                  </a:lnTo>
                  <a:lnTo>
                    <a:pt x="56" y="115"/>
                  </a:lnTo>
                  <a:lnTo>
                    <a:pt x="55" y="115"/>
                  </a:lnTo>
                  <a:lnTo>
                    <a:pt x="55" y="115"/>
                  </a:lnTo>
                  <a:lnTo>
                    <a:pt x="54" y="114"/>
                  </a:lnTo>
                  <a:lnTo>
                    <a:pt x="54" y="114"/>
                  </a:lnTo>
                  <a:lnTo>
                    <a:pt x="53" y="112"/>
                  </a:lnTo>
                  <a:lnTo>
                    <a:pt x="52" y="111"/>
                  </a:lnTo>
                  <a:lnTo>
                    <a:pt x="51" y="110"/>
                  </a:lnTo>
                  <a:lnTo>
                    <a:pt x="51" y="110"/>
                  </a:lnTo>
                  <a:lnTo>
                    <a:pt x="50" y="109"/>
                  </a:lnTo>
                  <a:lnTo>
                    <a:pt x="50" y="108"/>
                  </a:lnTo>
                  <a:lnTo>
                    <a:pt x="50" y="107"/>
                  </a:lnTo>
                  <a:lnTo>
                    <a:pt x="50" y="106"/>
                  </a:lnTo>
                  <a:lnTo>
                    <a:pt x="50" y="105"/>
                  </a:lnTo>
                  <a:lnTo>
                    <a:pt x="50" y="104"/>
                  </a:lnTo>
                  <a:lnTo>
                    <a:pt x="50" y="103"/>
                  </a:lnTo>
                  <a:lnTo>
                    <a:pt x="50" y="103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8" y="102"/>
                  </a:lnTo>
                  <a:lnTo>
                    <a:pt x="48" y="101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46" y="99"/>
                  </a:lnTo>
                  <a:lnTo>
                    <a:pt x="46" y="99"/>
                  </a:lnTo>
                  <a:lnTo>
                    <a:pt x="45" y="98"/>
                  </a:lnTo>
                  <a:lnTo>
                    <a:pt x="45" y="98"/>
                  </a:lnTo>
                  <a:lnTo>
                    <a:pt x="45" y="97"/>
                  </a:lnTo>
                  <a:lnTo>
                    <a:pt x="44" y="97"/>
                  </a:lnTo>
                  <a:lnTo>
                    <a:pt x="44" y="97"/>
                  </a:lnTo>
                  <a:lnTo>
                    <a:pt x="44" y="97"/>
                  </a:lnTo>
                  <a:lnTo>
                    <a:pt x="44" y="97"/>
                  </a:lnTo>
                  <a:lnTo>
                    <a:pt x="43" y="97"/>
                  </a:lnTo>
                  <a:lnTo>
                    <a:pt x="42" y="97"/>
                  </a:lnTo>
                  <a:lnTo>
                    <a:pt x="42" y="96"/>
                  </a:lnTo>
                  <a:lnTo>
                    <a:pt x="41" y="96"/>
                  </a:lnTo>
                  <a:lnTo>
                    <a:pt x="41" y="96"/>
                  </a:lnTo>
                  <a:lnTo>
                    <a:pt x="41" y="96"/>
                  </a:lnTo>
                  <a:lnTo>
                    <a:pt x="40" y="95"/>
                  </a:lnTo>
                  <a:lnTo>
                    <a:pt x="40" y="94"/>
                  </a:lnTo>
                  <a:lnTo>
                    <a:pt x="39" y="93"/>
                  </a:lnTo>
                  <a:lnTo>
                    <a:pt x="39" y="93"/>
                  </a:lnTo>
                  <a:lnTo>
                    <a:pt x="38" y="93"/>
                  </a:lnTo>
                  <a:lnTo>
                    <a:pt x="38" y="92"/>
                  </a:lnTo>
                  <a:lnTo>
                    <a:pt x="37" y="92"/>
                  </a:lnTo>
                  <a:lnTo>
                    <a:pt x="37" y="92"/>
                  </a:lnTo>
                  <a:lnTo>
                    <a:pt x="36" y="92"/>
                  </a:lnTo>
                  <a:lnTo>
                    <a:pt x="36" y="91"/>
                  </a:lnTo>
                  <a:lnTo>
                    <a:pt x="36" y="91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5" y="90"/>
                  </a:lnTo>
                  <a:lnTo>
                    <a:pt x="35" y="90"/>
                  </a:lnTo>
                  <a:lnTo>
                    <a:pt x="34" y="90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2" y="89"/>
                  </a:lnTo>
                  <a:lnTo>
                    <a:pt x="31" y="88"/>
                  </a:lnTo>
                  <a:lnTo>
                    <a:pt x="30" y="87"/>
                  </a:lnTo>
                  <a:lnTo>
                    <a:pt x="30" y="86"/>
                  </a:lnTo>
                  <a:lnTo>
                    <a:pt x="29" y="85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7" y="84"/>
                  </a:lnTo>
                  <a:lnTo>
                    <a:pt x="26" y="83"/>
                  </a:lnTo>
                  <a:lnTo>
                    <a:pt x="26" y="83"/>
                  </a:lnTo>
                  <a:lnTo>
                    <a:pt x="26" y="82"/>
                  </a:lnTo>
                  <a:lnTo>
                    <a:pt x="26" y="82"/>
                  </a:lnTo>
                  <a:lnTo>
                    <a:pt x="26" y="82"/>
                  </a:lnTo>
                  <a:lnTo>
                    <a:pt x="26" y="82"/>
                  </a:lnTo>
                  <a:lnTo>
                    <a:pt x="25" y="82"/>
                  </a:lnTo>
                  <a:lnTo>
                    <a:pt x="25" y="82"/>
                  </a:lnTo>
                  <a:lnTo>
                    <a:pt x="24" y="82"/>
                  </a:lnTo>
                  <a:lnTo>
                    <a:pt x="23" y="81"/>
                  </a:lnTo>
                  <a:lnTo>
                    <a:pt x="23" y="81"/>
                  </a:lnTo>
                  <a:lnTo>
                    <a:pt x="23" y="81"/>
                  </a:lnTo>
                  <a:lnTo>
                    <a:pt x="22" y="80"/>
                  </a:lnTo>
                  <a:lnTo>
                    <a:pt x="22" y="80"/>
                  </a:lnTo>
                  <a:lnTo>
                    <a:pt x="21" y="79"/>
                  </a:lnTo>
                  <a:lnTo>
                    <a:pt x="21" y="78"/>
                  </a:lnTo>
                  <a:lnTo>
                    <a:pt x="20" y="78"/>
                  </a:lnTo>
                  <a:lnTo>
                    <a:pt x="20" y="78"/>
                  </a:lnTo>
                  <a:lnTo>
                    <a:pt x="20" y="77"/>
                  </a:lnTo>
                  <a:lnTo>
                    <a:pt x="19" y="77"/>
                  </a:lnTo>
                  <a:lnTo>
                    <a:pt x="19" y="77"/>
                  </a:lnTo>
                  <a:lnTo>
                    <a:pt x="18" y="77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75"/>
                  </a:lnTo>
                  <a:lnTo>
                    <a:pt x="17" y="75"/>
                  </a:lnTo>
                  <a:lnTo>
                    <a:pt x="17" y="75"/>
                  </a:lnTo>
                  <a:lnTo>
                    <a:pt x="17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5" y="75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3" y="73"/>
                  </a:lnTo>
                  <a:lnTo>
                    <a:pt x="12" y="72"/>
                  </a:lnTo>
                  <a:lnTo>
                    <a:pt x="11" y="71"/>
                  </a:lnTo>
                  <a:lnTo>
                    <a:pt x="10" y="70"/>
                  </a:lnTo>
                  <a:lnTo>
                    <a:pt x="10" y="69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7" y="67"/>
                  </a:lnTo>
                  <a:lnTo>
                    <a:pt x="7" y="67"/>
                  </a:lnTo>
                  <a:lnTo>
                    <a:pt x="7" y="67"/>
                  </a:lnTo>
                  <a:lnTo>
                    <a:pt x="6" y="67"/>
                  </a:lnTo>
                  <a:lnTo>
                    <a:pt x="6" y="67"/>
                  </a:lnTo>
                  <a:lnTo>
                    <a:pt x="5" y="66"/>
                  </a:lnTo>
                  <a:lnTo>
                    <a:pt x="5" y="66"/>
                  </a:lnTo>
                  <a:lnTo>
                    <a:pt x="4" y="66"/>
                  </a:lnTo>
                  <a:lnTo>
                    <a:pt x="4" y="66"/>
                  </a:lnTo>
                  <a:lnTo>
                    <a:pt x="4" y="65"/>
                  </a:lnTo>
                  <a:lnTo>
                    <a:pt x="3" y="64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1" y="62"/>
                  </a:lnTo>
                  <a:lnTo>
                    <a:pt x="1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0"/>
                  </a:lnTo>
                  <a:lnTo>
                    <a:pt x="0" y="59"/>
                  </a:lnTo>
                  <a:lnTo>
                    <a:pt x="1" y="58"/>
                  </a:lnTo>
                  <a:lnTo>
                    <a:pt x="1" y="56"/>
                  </a:lnTo>
                  <a:lnTo>
                    <a:pt x="2" y="55"/>
                  </a:lnTo>
                  <a:lnTo>
                    <a:pt x="2" y="54"/>
                  </a:lnTo>
                  <a:lnTo>
                    <a:pt x="3" y="53"/>
                  </a:lnTo>
                  <a:lnTo>
                    <a:pt x="4" y="52"/>
                  </a:lnTo>
                  <a:lnTo>
                    <a:pt x="5" y="51"/>
                  </a:lnTo>
                  <a:lnTo>
                    <a:pt x="6" y="51"/>
                  </a:lnTo>
                  <a:lnTo>
                    <a:pt x="7" y="50"/>
                  </a:lnTo>
                  <a:lnTo>
                    <a:pt x="8" y="49"/>
                  </a:lnTo>
                  <a:lnTo>
                    <a:pt x="9" y="49"/>
                  </a:lnTo>
                  <a:lnTo>
                    <a:pt x="10" y="48"/>
                  </a:lnTo>
                  <a:lnTo>
                    <a:pt x="12" y="47"/>
                  </a:lnTo>
                  <a:lnTo>
                    <a:pt x="13" y="47"/>
                  </a:lnTo>
                  <a:lnTo>
                    <a:pt x="15" y="47"/>
                  </a:lnTo>
                  <a:lnTo>
                    <a:pt x="15" y="46"/>
                  </a:lnTo>
                  <a:lnTo>
                    <a:pt x="16" y="44"/>
                  </a:lnTo>
                  <a:lnTo>
                    <a:pt x="16" y="43"/>
                  </a:lnTo>
                  <a:lnTo>
                    <a:pt x="17" y="42"/>
                  </a:lnTo>
                  <a:lnTo>
                    <a:pt x="18" y="41"/>
                  </a:lnTo>
                  <a:lnTo>
                    <a:pt x="19" y="41"/>
                  </a:lnTo>
                  <a:lnTo>
                    <a:pt x="20" y="39"/>
                  </a:lnTo>
                  <a:lnTo>
                    <a:pt x="22" y="37"/>
                  </a:lnTo>
                  <a:lnTo>
                    <a:pt x="24" y="35"/>
                  </a:lnTo>
                  <a:lnTo>
                    <a:pt x="26" y="34"/>
                  </a:lnTo>
                  <a:lnTo>
                    <a:pt x="28" y="32"/>
                  </a:lnTo>
                  <a:lnTo>
                    <a:pt x="30" y="31"/>
                  </a:lnTo>
                  <a:lnTo>
                    <a:pt x="32" y="29"/>
                  </a:lnTo>
                  <a:lnTo>
                    <a:pt x="33" y="28"/>
                  </a:lnTo>
                  <a:lnTo>
                    <a:pt x="35" y="26"/>
                  </a:lnTo>
                  <a:lnTo>
                    <a:pt x="37" y="25"/>
                  </a:lnTo>
                  <a:lnTo>
                    <a:pt x="39" y="23"/>
                  </a:lnTo>
                  <a:lnTo>
                    <a:pt x="39" y="22"/>
                  </a:lnTo>
                  <a:lnTo>
                    <a:pt x="40" y="21"/>
                  </a:lnTo>
                  <a:lnTo>
                    <a:pt x="41" y="20"/>
                  </a:lnTo>
                  <a:lnTo>
                    <a:pt x="41" y="19"/>
                  </a:lnTo>
                  <a:lnTo>
                    <a:pt x="42" y="18"/>
                  </a:lnTo>
                  <a:lnTo>
                    <a:pt x="43" y="18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6" y="19"/>
                  </a:lnTo>
                  <a:lnTo>
                    <a:pt x="47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9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1" y="20"/>
                  </a:lnTo>
                  <a:lnTo>
                    <a:pt x="52" y="19"/>
                  </a:lnTo>
                  <a:lnTo>
                    <a:pt x="53" y="18"/>
                  </a:lnTo>
                  <a:lnTo>
                    <a:pt x="54" y="17"/>
                  </a:lnTo>
                  <a:lnTo>
                    <a:pt x="55" y="15"/>
                  </a:lnTo>
                  <a:lnTo>
                    <a:pt x="55" y="14"/>
                  </a:lnTo>
                  <a:lnTo>
                    <a:pt x="56" y="12"/>
                  </a:lnTo>
                  <a:lnTo>
                    <a:pt x="57" y="9"/>
                  </a:lnTo>
                  <a:lnTo>
                    <a:pt x="58" y="8"/>
                  </a:lnTo>
                  <a:lnTo>
                    <a:pt x="58" y="7"/>
                  </a:lnTo>
                  <a:lnTo>
                    <a:pt x="59" y="5"/>
                  </a:lnTo>
                  <a:lnTo>
                    <a:pt x="60" y="4"/>
                  </a:lnTo>
                  <a:lnTo>
                    <a:pt x="61" y="3"/>
                  </a:lnTo>
                  <a:lnTo>
                    <a:pt x="62" y="2"/>
                  </a:lnTo>
                  <a:lnTo>
                    <a:pt x="63" y="1"/>
                  </a:lnTo>
                  <a:lnTo>
                    <a:pt x="64" y="1"/>
                  </a:lnTo>
                  <a:lnTo>
                    <a:pt x="65" y="0"/>
                  </a:lnTo>
                  <a:lnTo>
                    <a:pt x="66" y="1"/>
                  </a:lnTo>
                  <a:lnTo>
                    <a:pt x="68" y="1"/>
                  </a:lnTo>
                  <a:lnTo>
                    <a:pt x="69" y="1"/>
                  </a:lnTo>
                  <a:lnTo>
                    <a:pt x="70" y="1"/>
                  </a:lnTo>
                  <a:lnTo>
                    <a:pt x="71" y="2"/>
                  </a:lnTo>
                  <a:lnTo>
                    <a:pt x="73" y="3"/>
                  </a:lnTo>
                  <a:lnTo>
                    <a:pt x="74" y="3"/>
                  </a:lnTo>
                  <a:lnTo>
                    <a:pt x="75" y="4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7" y="6"/>
                  </a:lnTo>
                  <a:lnTo>
                    <a:pt x="78" y="7"/>
                  </a:lnTo>
                  <a:lnTo>
                    <a:pt x="80" y="9"/>
                  </a:lnTo>
                  <a:lnTo>
                    <a:pt x="81" y="11"/>
                  </a:lnTo>
                  <a:lnTo>
                    <a:pt x="82" y="13"/>
                  </a:lnTo>
                  <a:lnTo>
                    <a:pt x="84" y="15"/>
                  </a:lnTo>
                  <a:lnTo>
                    <a:pt x="85" y="17"/>
                  </a:lnTo>
                  <a:lnTo>
                    <a:pt x="87" y="19"/>
                  </a:lnTo>
                  <a:lnTo>
                    <a:pt x="87" y="20"/>
                  </a:lnTo>
                  <a:lnTo>
                    <a:pt x="88" y="21"/>
                  </a:lnTo>
                  <a:lnTo>
                    <a:pt x="89" y="22"/>
                  </a:lnTo>
                  <a:lnTo>
                    <a:pt x="90" y="23"/>
                  </a:lnTo>
                  <a:lnTo>
                    <a:pt x="91" y="23"/>
                  </a:lnTo>
                  <a:lnTo>
                    <a:pt x="92" y="24"/>
                  </a:lnTo>
                  <a:lnTo>
                    <a:pt x="93" y="25"/>
                  </a:lnTo>
                  <a:lnTo>
                    <a:pt x="95" y="25"/>
                  </a:lnTo>
                  <a:lnTo>
                    <a:pt x="95" y="25"/>
                  </a:lnTo>
                  <a:lnTo>
                    <a:pt x="96" y="25"/>
                  </a:lnTo>
                  <a:lnTo>
                    <a:pt x="97" y="25"/>
                  </a:lnTo>
                  <a:lnTo>
                    <a:pt x="98" y="25"/>
                  </a:lnTo>
                </a:path>
              </a:pathLst>
            </a:custGeom>
            <a:grpFill/>
            <a:ln w="3175" cap="flat" cmpd="sng">
              <a:solidFill>
                <a:schemeClr val="accent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algn="ctr" defTabSz="781394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800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50" name="Freeform 12"/>
            <p:cNvSpPr>
              <a:spLocks/>
            </p:cNvSpPr>
            <p:nvPr/>
          </p:nvSpPr>
          <p:spPr bwMode="auto">
            <a:xfrm>
              <a:off x="355629" y="3876163"/>
              <a:ext cx="1068508" cy="1252736"/>
            </a:xfrm>
            <a:custGeom>
              <a:avLst/>
              <a:gdLst/>
              <a:ahLst/>
              <a:cxnLst>
                <a:cxn ang="0">
                  <a:pos x="141" y="28"/>
                </a:cxn>
                <a:cxn ang="0">
                  <a:pos x="142" y="39"/>
                </a:cxn>
                <a:cxn ang="0">
                  <a:pos x="134" y="42"/>
                </a:cxn>
                <a:cxn ang="0">
                  <a:pos x="125" y="45"/>
                </a:cxn>
                <a:cxn ang="0">
                  <a:pos x="112" y="143"/>
                </a:cxn>
                <a:cxn ang="0">
                  <a:pos x="96" y="149"/>
                </a:cxn>
                <a:cxn ang="0">
                  <a:pos x="92" y="138"/>
                </a:cxn>
                <a:cxn ang="0">
                  <a:pos x="87" y="129"/>
                </a:cxn>
                <a:cxn ang="0">
                  <a:pos x="75" y="118"/>
                </a:cxn>
                <a:cxn ang="0">
                  <a:pos x="47" y="120"/>
                </a:cxn>
                <a:cxn ang="0">
                  <a:pos x="38" y="125"/>
                </a:cxn>
                <a:cxn ang="0">
                  <a:pos x="34" y="124"/>
                </a:cxn>
                <a:cxn ang="0">
                  <a:pos x="35" y="118"/>
                </a:cxn>
                <a:cxn ang="0">
                  <a:pos x="41" y="110"/>
                </a:cxn>
                <a:cxn ang="0">
                  <a:pos x="43" y="104"/>
                </a:cxn>
                <a:cxn ang="0">
                  <a:pos x="42" y="98"/>
                </a:cxn>
                <a:cxn ang="0">
                  <a:pos x="34" y="93"/>
                </a:cxn>
                <a:cxn ang="0">
                  <a:pos x="25" y="86"/>
                </a:cxn>
                <a:cxn ang="0">
                  <a:pos x="21" y="81"/>
                </a:cxn>
                <a:cxn ang="0">
                  <a:pos x="16" y="81"/>
                </a:cxn>
                <a:cxn ang="0">
                  <a:pos x="16" y="71"/>
                </a:cxn>
                <a:cxn ang="0">
                  <a:pos x="12" y="55"/>
                </a:cxn>
                <a:cxn ang="0">
                  <a:pos x="11" y="46"/>
                </a:cxn>
                <a:cxn ang="0">
                  <a:pos x="6" y="42"/>
                </a:cxn>
                <a:cxn ang="0">
                  <a:pos x="0" y="39"/>
                </a:cxn>
                <a:cxn ang="0">
                  <a:pos x="0" y="36"/>
                </a:cxn>
                <a:cxn ang="0">
                  <a:pos x="3" y="33"/>
                </a:cxn>
                <a:cxn ang="0">
                  <a:pos x="12" y="35"/>
                </a:cxn>
                <a:cxn ang="0">
                  <a:pos x="14" y="37"/>
                </a:cxn>
                <a:cxn ang="0">
                  <a:pos x="16" y="39"/>
                </a:cxn>
                <a:cxn ang="0">
                  <a:pos x="24" y="40"/>
                </a:cxn>
                <a:cxn ang="0">
                  <a:pos x="29" y="39"/>
                </a:cxn>
                <a:cxn ang="0">
                  <a:pos x="22" y="32"/>
                </a:cxn>
                <a:cxn ang="0">
                  <a:pos x="20" y="26"/>
                </a:cxn>
                <a:cxn ang="0">
                  <a:pos x="23" y="25"/>
                </a:cxn>
                <a:cxn ang="0">
                  <a:pos x="28" y="19"/>
                </a:cxn>
                <a:cxn ang="0">
                  <a:pos x="33" y="16"/>
                </a:cxn>
                <a:cxn ang="0">
                  <a:pos x="39" y="16"/>
                </a:cxn>
                <a:cxn ang="0">
                  <a:pos x="50" y="21"/>
                </a:cxn>
                <a:cxn ang="0">
                  <a:pos x="59" y="25"/>
                </a:cxn>
                <a:cxn ang="0">
                  <a:pos x="78" y="30"/>
                </a:cxn>
                <a:cxn ang="0">
                  <a:pos x="85" y="32"/>
                </a:cxn>
                <a:cxn ang="0">
                  <a:pos x="80" y="34"/>
                </a:cxn>
                <a:cxn ang="0">
                  <a:pos x="80" y="37"/>
                </a:cxn>
                <a:cxn ang="0">
                  <a:pos x="86" y="39"/>
                </a:cxn>
                <a:cxn ang="0">
                  <a:pos x="93" y="38"/>
                </a:cxn>
                <a:cxn ang="0">
                  <a:pos x="92" y="30"/>
                </a:cxn>
                <a:cxn ang="0">
                  <a:pos x="91" y="22"/>
                </a:cxn>
                <a:cxn ang="0">
                  <a:pos x="88" y="20"/>
                </a:cxn>
                <a:cxn ang="0">
                  <a:pos x="84" y="21"/>
                </a:cxn>
                <a:cxn ang="0">
                  <a:pos x="80" y="23"/>
                </a:cxn>
                <a:cxn ang="0">
                  <a:pos x="75" y="23"/>
                </a:cxn>
                <a:cxn ang="0">
                  <a:pos x="70" y="19"/>
                </a:cxn>
                <a:cxn ang="0">
                  <a:pos x="68" y="12"/>
                </a:cxn>
                <a:cxn ang="0">
                  <a:pos x="72" y="6"/>
                </a:cxn>
                <a:cxn ang="0">
                  <a:pos x="83" y="3"/>
                </a:cxn>
                <a:cxn ang="0">
                  <a:pos x="94" y="2"/>
                </a:cxn>
                <a:cxn ang="0">
                  <a:pos x="106" y="2"/>
                </a:cxn>
                <a:cxn ang="0">
                  <a:pos x="116" y="4"/>
                </a:cxn>
                <a:cxn ang="0">
                  <a:pos x="118" y="0"/>
                </a:cxn>
                <a:cxn ang="0">
                  <a:pos x="125" y="6"/>
                </a:cxn>
                <a:cxn ang="0">
                  <a:pos x="134" y="13"/>
                </a:cxn>
              </a:cxnLst>
              <a:rect l="0" t="0" r="r" b="b"/>
              <a:pathLst>
                <a:path w="143" h="156">
                  <a:moveTo>
                    <a:pt x="141" y="15"/>
                  </a:moveTo>
                  <a:lnTo>
                    <a:pt x="141" y="16"/>
                  </a:lnTo>
                  <a:lnTo>
                    <a:pt x="141" y="18"/>
                  </a:lnTo>
                  <a:lnTo>
                    <a:pt x="141" y="20"/>
                  </a:lnTo>
                  <a:lnTo>
                    <a:pt x="141" y="21"/>
                  </a:lnTo>
                  <a:lnTo>
                    <a:pt x="141" y="25"/>
                  </a:lnTo>
                  <a:lnTo>
                    <a:pt x="141" y="28"/>
                  </a:lnTo>
                  <a:lnTo>
                    <a:pt x="141" y="30"/>
                  </a:lnTo>
                  <a:lnTo>
                    <a:pt x="141" y="32"/>
                  </a:lnTo>
                  <a:lnTo>
                    <a:pt x="141" y="33"/>
                  </a:lnTo>
                  <a:lnTo>
                    <a:pt x="141" y="35"/>
                  </a:lnTo>
                  <a:lnTo>
                    <a:pt x="142" y="36"/>
                  </a:lnTo>
                  <a:lnTo>
                    <a:pt x="142" y="38"/>
                  </a:lnTo>
                  <a:lnTo>
                    <a:pt x="142" y="39"/>
                  </a:lnTo>
                  <a:lnTo>
                    <a:pt x="143" y="40"/>
                  </a:lnTo>
                  <a:lnTo>
                    <a:pt x="142" y="40"/>
                  </a:lnTo>
                  <a:lnTo>
                    <a:pt x="141" y="41"/>
                  </a:lnTo>
                  <a:lnTo>
                    <a:pt x="140" y="41"/>
                  </a:lnTo>
                  <a:lnTo>
                    <a:pt x="139" y="41"/>
                  </a:lnTo>
                  <a:lnTo>
                    <a:pt x="136" y="42"/>
                  </a:lnTo>
                  <a:lnTo>
                    <a:pt x="134" y="42"/>
                  </a:lnTo>
                  <a:lnTo>
                    <a:pt x="131" y="43"/>
                  </a:lnTo>
                  <a:lnTo>
                    <a:pt x="130" y="43"/>
                  </a:lnTo>
                  <a:lnTo>
                    <a:pt x="129" y="43"/>
                  </a:lnTo>
                  <a:lnTo>
                    <a:pt x="127" y="43"/>
                  </a:lnTo>
                  <a:lnTo>
                    <a:pt x="126" y="44"/>
                  </a:lnTo>
                  <a:lnTo>
                    <a:pt x="125" y="44"/>
                  </a:lnTo>
                  <a:lnTo>
                    <a:pt x="125" y="45"/>
                  </a:lnTo>
                  <a:lnTo>
                    <a:pt x="123" y="59"/>
                  </a:lnTo>
                  <a:lnTo>
                    <a:pt x="121" y="73"/>
                  </a:lnTo>
                  <a:lnTo>
                    <a:pt x="120" y="87"/>
                  </a:lnTo>
                  <a:lnTo>
                    <a:pt x="118" y="101"/>
                  </a:lnTo>
                  <a:lnTo>
                    <a:pt x="116" y="115"/>
                  </a:lnTo>
                  <a:lnTo>
                    <a:pt x="114" y="129"/>
                  </a:lnTo>
                  <a:lnTo>
                    <a:pt x="112" y="143"/>
                  </a:lnTo>
                  <a:lnTo>
                    <a:pt x="110" y="156"/>
                  </a:lnTo>
                  <a:lnTo>
                    <a:pt x="100" y="156"/>
                  </a:lnTo>
                  <a:lnTo>
                    <a:pt x="99" y="155"/>
                  </a:lnTo>
                  <a:lnTo>
                    <a:pt x="99" y="154"/>
                  </a:lnTo>
                  <a:lnTo>
                    <a:pt x="98" y="152"/>
                  </a:lnTo>
                  <a:lnTo>
                    <a:pt x="97" y="151"/>
                  </a:lnTo>
                  <a:lnTo>
                    <a:pt x="96" y="149"/>
                  </a:lnTo>
                  <a:lnTo>
                    <a:pt x="94" y="146"/>
                  </a:lnTo>
                  <a:lnTo>
                    <a:pt x="94" y="145"/>
                  </a:lnTo>
                  <a:lnTo>
                    <a:pt x="93" y="144"/>
                  </a:lnTo>
                  <a:lnTo>
                    <a:pt x="93" y="143"/>
                  </a:lnTo>
                  <a:lnTo>
                    <a:pt x="92" y="141"/>
                  </a:lnTo>
                  <a:lnTo>
                    <a:pt x="92" y="140"/>
                  </a:lnTo>
                  <a:lnTo>
                    <a:pt x="92" y="138"/>
                  </a:lnTo>
                  <a:lnTo>
                    <a:pt x="91" y="136"/>
                  </a:lnTo>
                  <a:lnTo>
                    <a:pt x="91" y="135"/>
                  </a:lnTo>
                  <a:lnTo>
                    <a:pt x="90" y="133"/>
                  </a:lnTo>
                  <a:lnTo>
                    <a:pt x="90" y="132"/>
                  </a:lnTo>
                  <a:lnTo>
                    <a:pt x="89" y="131"/>
                  </a:lnTo>
                  <a:lnTo>
                    <a:pt x="88" y="130"/>
                  </a:lnTo>
                  <a:lnTo>
                    <a:pt x="87" y="129"/>
                  </a:lnTo>
                  <a:lnTo>
                    <a:pt x="86" y="128"/>
                  </a:lnTo>
                  <a:lnTo>
                    <a:pt x="84" y="126"/>
                  </a:lnTo>
                  <a:lnTo>
                    <a:pt x="81" y="124"/>
                  </a:lnTo>
                  <a:lnTo>
                    <a:pt x="79" y="122"/>
                  </a:lnTo>
                  <a:lnTo>
                    <a:pt x="77" y="120"/>
                  </a:lnTo>
                  <a:lnTo>
                    <a:pt x="76" y="119"/>
                  </a:lnTo>
                  <a:lnTo>
                    <a:pt x="75" y="118"/>
                  </a:lnTo>
                  <a:lnTo>
                    <a:pt x="69" y="118"/>
                  </a:lnTo>
                  <a:lnTo>
                    <a:pt x="63" y="118"/>
                  </a:lnTo>
                  <a:lnTo>
                    <a:pt x="57" y="118"/>
                  </a:lnTo>
                  <a:lnTo>
                    <a:pt x="51" y="118"/>
                  </a:lnTo>
                  <a:lnTo>
                    <a:pt x="50" y="119"/>
                  </a:lnTo>
                  <a:lnTo>
                    <a:pt x="49" y="119"/>
                  </a:lnTo>
                  <a:lnTo>
                    <a:pt x="47" y="120"/>
                  </a:lnTo>
                  <a:lnTo>
                    <a:pt x="45" y="121"/>
                  </a:lnTo>
                  <a:lnTo>
                    <a:pt x="43" y="122"/>
                  </a:lnTo>
                  <a:lnTo>
                    <a:pt x="42" y="123"/>
                  </a:lnTo>
                  <a:lnTo>
                    <a:pt x="41" y="123"/>
                  </a:lnTo>
                  <a:lnTo>
                    <a:pt x="40" y="124"/>
                  </a:lnTo>
                  <a:lnTo>
                    <a:pt x="39" y="124"/>
                  </a:lnTo>
                  <a:lnTo>
                    <a:pt x="38" y="125"/>
                  </a:lnTo>
                  <a:lnTo>
                    <a:pt x="37" y="126"/>
                  </a:lnTo>
                  <a:lnTo>
                    <a:pt x="37" y="127"/>
                  </a:lnTo>
                  <a:lnTo>
                    <a:pt x="36" y="128"/>
                  </a:lnTo>
                  <a:lnTo>
                    <a:pt x="36" y="127"/>
                  </a:lnTo>
                  <a:lnTo>
                    <a:pt x="35" y="126"/>
                  </a:lnTo>
                  <a:lnTo>
                    <a:pt x="35" y="125"/>
                  </a:lnTo>
                  <a:lnTo>
                    <a:pt x="34" y="124"/>
                  </a:lnTo>
                  <a:lnTo>
                    <a:pt x="34" y="123"/>
                  </a:lnTo>
                  <a:lnTo>
                    <a:pt x="34" y="122"/>
                  </a:lnTo>
                  <a:lnTo>
                    <a:pt x="34" y="121"/>
                  </a:lnTo>
                  <a:lnTo>
                    <a:pt x="34" y="120"/>
                  </a:lnTo>
                  <a:lnTo>
                    <a:pt x="35" y="120"/>
                  </a:lnTo>
                  <a:lnTo>
                    <a:pt x="35" y="119"/>
                  </a:lnTo>
                  <a:lnTo>
                    <a:pt x="35" y="118"/>
                  </a:lnTo>
                  <a:lnTo>
                    <a:pt x="36" y="117"/>
                  </a:lnTo>
                  <a:lnTo>
                    <a:pt x="36" y="117"/>
                  </a:lnTo>
                  <a:lnTo>
                    <a:pt x="36" y="116"/>
                  </a:lnTo>
                  <a:lnTo>
                    <a:pt x="37" y="114"/>
                  </a:lnTo>
                  <a:lnTo>
                    <a:pt x="38" y="113"/>
                  </a:lnTo>
                  <a:lnTo>
                    <a:pt x="40" y="112"/>
                  </a:lnTo>
                  <a:lnTo>
                    <a:pt x="41" y="110"/>
                  </a:lnTo>
                  <a:lnTo>
                    <a:pt x="41" y="110"/>
                  </a:lnTo>
                  <a:lnTo>
                    <a:pt x="42" y="109"/>
                  </a:lnTo>
                  <a:lnTo>
                    <a:pt x="42" y="108"/>
                  </a:lnTo>
                  <a:lnTo>
                    <a:pt x="42" y="107"/>
                  </a:lnTo>
                  <a:lnTo>
                    <a:pt x="43" y="106"/>
                  </a:lnTo>
                  <a:lnTo>
                    <a:pt x="43" y="105"/>
                  </a:lnTo>
                  <a:lnTo>
                    <a:pt x="43" y="104"/>
                  </a:lnTo>
                  <a:lnTo>
                    <a:pt x="43" y="104"/>
                  </a:lnTo>
                  <a:lnTo>
                    <a:pt x="43" y="102"/>
                  </a:lnTo>
                  <a:lnTo>
                    <a:pt x="43" y="101"/>
                  </a:lnTo>
                  <a:lnTo>
                    <a:pt x="43" y="101"/>
                  </a:lnTo>
                  <a:lnTo>
                    <a:pt x="43" y="100"/>
                  </a:lnTo>
                  <a:lnTo>
                    <a:pt x="42" y="99"/>
                  </a:lnTo>
                  <a:lnTo>
                    <a:pt x="42" y="98"/>
                  </a:lnTo>
                  <a:lnTo>
                    <a:pt x="41" y="97"/>
                  </a:lnTo>
                  <a:lnTo>
                    <a:pt x="40" y="96"/>
                  </a:lnTo>
                  <a:lnTo>
                    <a:pt x="39" y="95"/>
                  </a:lnTo>
                  <a:lnTo>
                    <a:pt x="38" y="95"/>
                  </a:lnTo>
                  <a:lnTo>
                    <a:pt x="37" y="94"/>
                  </a:lnTo>
                  <a:lnTo>
                    <a:pt x="36" y="94"/>
                  </a:lnTo>
                  <a:lnTo>
                    <a:pt x="34" y="93"/>
                  </a:lnTo>
                  <a:lnTo>
                    <a:pt x="33" y="93"/>
                  </a:lnTo>
                  <a:lnTo>
                    <a:pt x="32" y="93"/>
                  </a:lnTo>
                  <a:lnTo>
                    <a:pt x="29" y="92"/>
                  </a:lnTo>
                  <a:lnTo>
                    <a:pt x="26" y="91"/>
                  </a:lnTo>
                  <a:lnTo>
                    <a:pt x="26" y="89"/>
                  </a:lnTo>
                  <a:lnTo>
                    <a:pt x="25" y="87"/>
                  </a:lnTo>
                  <a:lnTo>
                    <a:pt x="25" y="86"/>
                  </a:lnTo>
                  <a:lnTo>
                    <a:pt x="25" y="85"/>
                  </a:lnTo>
                  <a:lnTo>
                    <a:pt x="25" y="84"/>
                  </a:lnTo>
                  <a:lnTo>
                    <a:pt x="24" y="84"/>
                  </a:lnTo>
                  <a:lnTo>
                    <a:pt x="24" y="83"/>
                  </a:lnTo>
                  <a:lnTo>
                    <a:pt x="23" y="82"/>
                  </a:lnTo>
                  <a:lnTo>
                    <a:pt x="22" y="82"/>
                  </a:lnTo>
                  <a:lnTo>
                    <a:pt x="21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19" y="81"/>
                  </a:lnTo>
                  <a:lnTo>
                    <a:pt x="19" y="81"/>
                  </a:lnTo>
                  <a:lnTo>
                    <a:pt x="18" y="81"/>
                  </a:lnTo>
                  <a:lnTo>
                    <a:pt x="17" y="81"/>
                  </a:lnTo>
                  <a:lnTo>
                    <a:pt x="16" y="81"/>
                  </a:lnTo>
                  <a:lnTo>
                    <a:pt x="16" y="80"/>
                  </a:lnTo>
                  <a:lnTo>
                    <a:pt x="17" y="79"/>
                  </a:lnTo>
                  <a:lnTo>
                    <a:pt x="17" y="77"/>
                  </a:lnTo>
                  <a:lnTo>
                    <a:pt x="17" y="76"/>
                  </a:lnTo>
                  <a:lnTo>
                    <a:pt x="17" y="75"/>
                  </a:lnTo>
                  <a:lnTo>
                    <a:pt x="17" y="74"/>
                  </a:lnTo>
                  <a:lnTo>
                    <a:pt x="16" y="71"/>
                  </a:lnTo>
                  <a:lnTo>
                    <a:pt x="16" y="69"/>
                  </a:lnTo>
                  <a:lnTo>
                    <a:pt x="15" y="67"/>
                  </a:lnTo>
                  <a:lnTo>
                    <a:pt x="15" y="65"/>
                  </a:lnTo>
                  <a:lnTo>
                    <a:pt x="14" y="63"/>
                  </a:lnTo>
                  <a:lnTo>
                    <a:pt x="13" y="60"/>
                  </a:lnTo>
                  <a:lnTo>
                    <a:pt x="13" y="58"/>
                  </a:lnTo>
                  <a:lnTo>
                    <a:pt x="12" y="55"/>
                  </a:lnTo>
                  <a:lnTo>
                    <a:pt x="12" y="53"/>
                  </a:lnTo>
                  <a:lnTo>
                    <a:pt x="11" y="51"/>
                  </a:lnTo>
                  <a:lnTo>
                    <a:pt x="11" y="49"/>
                  </a:lnTo>
                  <a:lnTo>
                    <a:pt x="11" y="48"/>
                  </a:lnTo>
                  <a:lnTo>
                    <a:pt x="11" y="47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1" y="45"/>
                  </a:lnTo>
                  <a:lnTo>
                    <a:pt x="10" y="45"/>
                  </a:lnTo>
                  <a:lnTo>
                    <a:pt x="10" y="44"/>
                  </a:lnTo>
                  <a:lnTo>
                    <a:pt x="9" y="43"/>
                  </a:lnTo>
                  <a:lnTo>
                    <a:pt x="8" y="43"/>
                  </a:lnTo>
                  <a:lnTo>
                    <a:pt x="7" y="42"/>
                  </a:lnTo>
                  <a:lnTo>
                    <a:pt x="6" y="42"/>
                  </a:lnTo>
                  <a:lnTo>
                    <a:pt x="5" y="42"/>
                  </a:lnTo>
                  <a:lnTo>
                    <a:pt x="4" y="41"/>
                  </a:lnTo>
                  <a:lnTo>
                    <a:pt x="3" y="41"/>
                  </a:lnTo>
                  <a:lnTo>
                    <a:pt x="2" y="41"/>
                  </a:lnTo>
                  <a:lnTo>
                    <a:pt x="1" y="40"/>
                  </a:lnTo>
                  <a:lnTo>
                    <a:pt x="1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5"/>
                  </a:lnTo>
                  <a:lnTo>
                    <a:pt x="1" y="35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2" y="34"/>
                  </a:lnTo>
                  <a:lnTo>
                    <a:pt x="3" y="34"/>
                  </a:lnTo>
                  <a:lnTo>
                    <a:pt x="3" y="33"/>
                  </a:lnTo>
                  <a:lnTo>
                    <a:pt x="4" y="33"/>
                  </a:lnTo>
                  <a:lnTo>
                    <a:pt x="5" y="33"/>
                  </a:lnTo>
                  <a:lnTo>
                    <a:pt x="6" y="34"/>
                  </a:lnTo>
                  <a:lnTo>
                    <a:pt x="7" y="34"/>
                  </a:lnTo>
                  <a:lnTo>
                    <a:pt x="9" y="34"/>
                  </a:lnTo>
                  <a:lnTo>
                    <a:pt x="11" y="35"/>
                  </a:lnTo>
                  <a:lnTo>
                    <a:pt x="12" y="35"/>
                  </a:lnTo>
                  <a:lnTo>
                    <a:pt x="13" y="35"/>
                  </a:lnTo>
                  <a:lnTo>
                    <a:pt x="13" y="35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7"/>
                  </a:lnTo>
                  <a:lnTo>
                    <a:pt x="15" y="37"/>
                  </a:lnTo>
                  <a:lnTo>
                    <a:pt x="16" y="37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40"/>
                  </a:lnTo>
                  <a:lnTo>
                    <a:pt x="17" y="40"/>
                  </a:lnTo>
                  <a:lnTo>
                    <a:pt x="18" y="40"/>
                  </a:lnTo>
                  <a:lnTo>
                    <a:pt x="19" y="40"/>
                  </a:lnTo>
                  <a:lnTo>
                    <a:pt x="20" y="40"/>
                  </a:lnTo>
                  <a:lnTo>
                    <a:pt x="22" y="40"/>
                  </a:lnTo>
                  <a:lnTo>
                    <a:pt x="24" y="40"/>
                  </a:lnTo>
                  <a:lnTo>
                    <a:pt x="25" y="40"/>
                  </a:lnTo>
                  <a:lnTo>
                    <a:pt x="27" y="41"/>
                  </a:lnTo>
                  <a:lnTo>
                    <a:pt x="28" y="41"/>
                  </a:lnTo>
                  <a:lnTo>
                    <a:pt x="30" y="41"/>
                  </a:lnTo>
                  <a:lnTo>
                    <a:pt x="30" y="41"/>
                  </a:lnTo>
                  <a:lnTo>
                    <a:pt x="29" y="40"/>
                  </a:lnTo>
                  <a:lnTo>
                    <a:pt x="29" y="39"/>
                  </a:lnTo>
                  <a:lnTo>
                    <a:pt x="28" y="38"/>
                  </a:lnTo>
                  <a:lnTo>
                    <a:pt x="27" y="37"/>
                  </a:lnTo>
                  <a:lnTo>
                    <a:pt x="27" y="36"/>
                  </a:lnTo>
                  <a:lnTo>
                    <a:pt x="26" y="35"/>
                  </a:lnTo>
                  <a:lnTo>
                    <a:pt x="24" y="34"/>
                  </a:lnTo>
                  <a:lnTo>
                    <a:pt x="23" y="33"/>
                  </a:lnTo>
                  <a:lnTo>
                    <a:pt x="22" y="32"/>
                  </a:lnTo>
                  <a:lnTo>
                    <a:pt x="22" y="31"/>
                  </a:lnTo>
                  <a:lnTo>
                    <a:pt x="21" y="30"/>
                  </a:lnTo>
                  <a:lnTo>
                    <a:pt x="20" y="29"/>
                  </a:lnTo>
                  <a:lnTo>
                    <a:pt x="20" y="28"/>
                  </a:lnTo>
                  <a:lnTo>
                    <a:pt x="20" y="27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1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3" y="25"/>
                  </a:lnTo>
                  <a:lnTo>
                    <a:pt x="23" y="25"/>
                  </a:lnTo>
                  <a:lnTo>
                    <a:pt x="24" y="25"/>
                  </a:lnTo>
                  <a:lnTo>
                    <a:pt x="25" y="24"/>
                  </a:lnTo>
                  <a:lnTo>
                    <a:pt x="26" y="23"/>
                  </a:lnTo>
                  <a:lnTo>
                    <a:pt x="26" y="23"/>
                  </a:lnTo>
                  <a:lnTo>
                    <a:pt x="27" y="22"/>
                  </a:lnTo>
                  <a:lnTo>
                    <a:pt x="28" y="20"/>
                  </a:lnTo>
                  <a:lnTo>
                    <a:pt x="28" y="19"/>
                  </a:lnTo>
                  <a:lnTo>
                    <a:pt x="29" y="19"/>
                  </a:lnTo>
                  <a:lnTo>
                    <a:pt x="29" y="18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1" y="17"/>
                  </a:lnTo>
                  <a:lnTo>
                    <a:pt x="32" y="16"/>
                  </a:lnTo>
                  <a:lnTo>
                    <a:pt x="33" y="16"/>
                  </a:lnTo>
                  <a:lnTo>
                    <a:pt x="34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6" y="15"/>
                  </a:lnTo>
                  <a:lnTo>
                    <a:pt x="37" y="15"/>
                  </a:lnTo>
                  <a:lnTo>
                    <a:pt x="38" y="16"/>
                  </a:lnTo>
                  <a:lnTo>
                    <a:pt x="39" y="16"/>
                  </a:lnTo>
                  <a:lnTo>
                    <a:pt x="41" y="16"/>
                  </a:lnTo>
                  <a:lnTo>
                    <a:pt x="42" y="17"/>
                  </a:lnTo>
                  <a:lnTo>
                    <a:pt x="43" y="17"/>
                  </a:lnTo>
                  <a:lnTo>
                    <a:pt x="45" y="18"/>
                  </a:lnTo>
                  <a:lnTo>
                    <a:pt x="46" y="19"/>
                  </a:lnTo>
                  <a:lnTo>
                    <a:pt x="49" y="20"/>
                  </a:lnTo>
                  <a:lnTo>
                    <a:pt x="50" y="21"/>
                  </a:lnTo>
                  <a:lnTo>
                    <a:pt x="52" y="22"/>
                  </a:lnTo>
                  <a:lnTo>
                    <a:pt x="53" y="23"/>
                  </a:lnTo>
                  <a:lnTo>
                    <a:pt x="55" y="23"/>
                  </a:lnTo>
                  <a:lnTo>
                    <a:pt x="56" y="24"/>
                  </a:lnTo>
                  <a:lnTo>
                    <a:pt x="57" y="24"/>
                  </a:lnTo>
                  <a:lnTo>
                    <a:pt x="58" y="24"/>
                  </a:lnTo>
                  <a:lnTo>
                    <a:pt x="59" y="25"/>
                  </a:lnTo>
                  <a:lnTo>
                    <a:pt x="62" y="26"/>
                  </a:lnTo>
                  <a:lnTo>
                    <a:pt x="65" y="27"/>
                  </a:lnTo>
                  <a:lnTo>
                    <a:pt x="67" y="27"/>
                  </a:lnTo>
                  <a:lnTo>
                    <a:pt x="70" y="28"/>
                  </a:lnTo>
                  <a:lnTo>
                    <a:pt x="73" y="29"/>
                  </a:lnTo>
                  <a:lnTo>
                    <a:pt x="75" y="29"/>
                  </a:lnTo>
                  <a:lnTo>
                    <a:pt x="78" y="30"/>
                  </a:lnTo>
                  <a:lnTo>
                    <a:pt x="81" y="30"/>
                  </a:lnTo>
                  <a:lnTo>
                    <a:pt x="83" y="30"/>
                  </a:lnTo>
                  <a:lnTo>
                    <a:pt x="86" y="30"/>
                  </a:lnTo>
                  <a:lnTo>
                    <a:pt x="86" y="30"/>
                  </a:lnTo>
                  <a:lnTo>
                    <a:pt x="86" y="31"/>
                  </a:lnTo>
                  <a:lnTo>
                    <a:pt x="85" y="31"/>
                  </a:lnTo>
                  <a:lnTo>
                    <a:pt x="85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2" y="32"/>
                  </a:lnTo>
                  <a:lnTo>
                    <a:pt x="82" y="32"/>
                  </a:lnTo>
                  <a:lnTo>
                    <a:pt x="81" y="33"/>
                  </a:lnTo>
                  <a:lnTo>
                    <a:pt x="80" y="33"/>
                  </a:lnTo>
                  <a:lnTo>
                    <a:pt x="80" y="34"/>
                  </a:lnTo>
                  <a:lnTo>
                    <a:pt x="80" y="34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6"/>
                  </a:lnTo>
                  <a:lnTo>
                    <a:pt x="79" y="36"/>
                  </a:lnTo>
                  <a:lnTo>
                    <a:pt x="80" y="37"/>
                  </a:lnTo>
                  <a:lnTo>
                    <a:pt x="80" y="37"/>
                  </a:lnTo>
                  <a:lnTo>
                    <a:pt x="81" y="38"/>
                  </a:lnTo>
                  <a:lnTo>
                    <a:pt x="82" y="38"/>
                  </a:lnTo>
                  <a:lnTo>
                    <a:pt x="82" y="39"/>
                  </a:lnTo>
                  <a:lnTo>
                    <a:pt x="83" y="39"/>
                  </a:lnTo>
                  <a:lnTo>
                    <a:pt x="84" y="39"/>
                  </a:lnTo>
                  <a:lnTo>
                    <a:pt x="85" y="39"/>
                  </a:lnTo>
                  <a:lnTo>
                    <a:pt x="86" y="39"/>
                  </a:lnTo>
                  <a:lnTo>
                    <a:pt x="87" y="39"/>
                  </a:lnTo>
                  <a:lnTo>
                    <a:pt x="88" y="39"/>
                  </a:lnTo>
                  <a:lnTo>
                    <a:pt x="90" y="39"/>
                  </a:lnTo>
                  <a:lnTo>
                    <a:pt x="91" y="39"/>
                  </a:lnTo>
                  <a:lnTo>
                    <a:pt x="91" y="38"/>
                  </a:lnTo>
                  <a:lnTo>
                    <a:pt x="92" y="38"/>
                  </a:lnTo>
                  <a:lnTo>
                    <a:pt x="93" y="38"/>
                  </a:lnTo>
                  <a:lnTo>
                    <a:pt x="93" y="37"/>
                  </a:lnTo>
                  <a:lnTo>
                    <a:pt x="92" y="37"/>
                  </a:lnTo>
                  <a:lnTo>
                    <a:pt x="92" y="35"/>
                  </a:lnTo>
                  <a:lnTo>
                    <a:pt x="92" y="34"/>
                  </a:lnTo>
                  <a:lnTo>
                    <a:pt x="92" y="33"/>
                  </a:lnTo>
                  <a:lnTo>
                    <a:pt x="92" y="31"/>
                  </a:lnTo>
                  <a:lnTo>
                    <a:pt x="92" y="30"/>
                  </a:lnTo>
                  <a:lnTo>
                    <a:pt x="92" y="29"/>
                  </a:lnTo>
                  <a:lnTo>
                    <a:pt x="92" y="28"/>
                  </a:lnTo>
                  <a:lnTo>
                    <a:pt x="92" y="26"/>
                  </a:lnTo>
                  <a:lnTo>
                    <a:pt x="92" y="25"/>
                  </a:lnTo>
                  <a:lnTo>
                    <a:pt x="92" y="24"/>
                  </a:lnTo>
                  <a:lnTo>
                    <a:pt x="92" y="23"/>
                  </a:lnTo>
                  <a:lnTo>
                    <a:pt x="91" y="22"/>
                  </a:lnTo>
                  <a:lnTo>
                    <a:pt x="91" y="21"/>
                  </a:lnTo>
                  <a:lnTo>
                    <a:pt x="91" y="21"/>
                  </a:lnTo>
                  <a:lnTo>
                    <a:pt x="90" y="21"/>
                  </a:lnTo>
                  <a:lnTo>
                    <a:pt x="90" y="20"/>
                  </a:lnTo>
                  <a:lnTo>
                    <a:pt x="90" y="20"/>
                  </a:lnTo>
                  <a:lnTo>
                    <a:pt x="89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6" y="20"/>
                  </a:lnTo>
                  <a:lnTo>
                    <a:pt x="85" y="20"/>
                  </a:lnTo>
                  <a:lnTo>
                    <a:pt x="85" y="21"/>
                  </a:lnTo>
                  <a:lnTo>
                    <a:pt x="84" y="21"/>
                  </a:lnTo>
                  <a:lnTo>
                    <a:pt x="84" y="22"/>
                  </a:lnTo>
                  <a:lnTo>
                    <a:pt x="83" y="22"/>
                  </a:lnTo>
                  <a:lnTo>
                    <a:pt x="83" y="22"/>
                  </a:lnTo>
                  <a:lnTo>
                    <a:pt x="82" y="23"/>
                  </a:lnTo>
                  <a:lnTo>
                    <a:pt x="82" y="23"/>
                  </a:lnTo>
                  <a:lnTo>
                    <a:pt x="81" y="23"/>
                  </a:lnTo>
                  <a:lnTo>
                    <a:pt x="80" y="23"/>
                  </a:lnTo>
                  <a:lnTo>
                    <a:pt x="80" y="23"/>
                  </a:lnTo>
                  <a:lnTo>
                    <a:pt x="79" y="23"/>
                  </a:lnTo>
                  <a:lnTo>
                    <a:pt x="79" y="23"/>
                  </a:lnTo>
                  <a:lnTo>
                    <a:pt x="78" y="23"/>
                  </a:lnTo>
                  <a:lnTo>
                    <a:pt x="77" y="23"/>
                  </a:lnTo>
                  <a:lnTo>
                    <a:pt x="76" y="23"/>
                  </a:lnTo>
                  <a:lnTo>
                    <a:pt x="75" y="23"/>
                  </a:lnTo>
                  <a:lnTo>
                    <a:pt x="75" y="22"/>
                  </a:lnTo>
                  <a:lnTo>
                    <a:pt x="74" y="22"/>
                  </a:lnTo>
                  <a:lnTo>
                    <a:pt x="73" y="22"/>
                  </a:lnTo>
                  <a:lnTo>
                    <a:pt x="73" y="21"/>
                  </a:lnTo>
                  <a:lnTo>
                    <a:pt x="72" y="21"/>
                  </a:lnTo>
                  <a:lnTo>
                    <a:pt x="71" y="20"/>
                  </a:lnTo>
                  <a:lnTo>
                    <a:pt x="70" y="19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8" y="17"/>
                  </a:lnTo>
                  <a:lnTo>
                    <a:pt x="68" y="15"/>
                  </a:lnTo>
                  <a:lnTo>
                    <a:pt x="68" y="14"/>
                  </a:lnTo>
                  <a:lnTo>
                    <a:pt x="68" y="13"/>
                  </a:lnTo>
                  <a:lnTo>
                    <a:pt x="68" y="12"/>
                  </a:lnTo>
                  <a:lnTo>
                    <a:pt x="69" y="11"/>
                  </a:lnTo>
                  <a:lnTo>
                    <a:pt x="69" y="11"/>
                  </a:lnTo>
                  <a:lnTo>
                    <a:pt x="69" y="10"/>
                  </a:lnTo>
                  <a:lnTo>
                    <a:pt x="70" y="9"/>
                  </a:lnTo>
                  <a:lnTo>
                    <a:pt x="71" y="8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2" y="5"/>
                  </a:lnTo>
                  <a:lnTo>
                    <a:pt x="73" y="4"/>
                  </a:lnTo>
                  <a:lnTo>
                    <a:pt x="73" y="3"/>
                  </a:lnTo>
                  <a:lnTo>
                    <a:pt x="78" y="3"/>
                  </a:lnTo>
                  <a:lnTo>
                    <a:pt x="80" y="3"/>
                  </a:lnTo>
                  <a:lnTo>
                    <a:pt x="81" y="3"/>
                  </a:lnTo>
                  <a:lnTo>
                    <a:pt x="83" y="3"/>
                  </a:lnTo>
                  <a:lnTo>
                    <a:pt x="85" y="3"/>
                  </a:lnTo>
                  <a:lnTo>
                    <a:pt x="86" y="3"/>
                  </a:lnTo>
                  <a:lnTo>
                    <a:pt x="88" y="3"/>
                  </a:lnTo>
                  <a:lnTo>
                    <a:pt x="89" y="3"/>
                  </a:lnTo>
                  <a:lnTo>
                    <a:pt x="91" y="3"/>
                  </a:lnTo>
                  <a:lnTo>
                    <a:pt x="92" y="3"/>
                  </a:lnTo>
                  <a:lnTo>
                    <a:pt x="94" y="2"/>
                  </a:lnTo>
                  <a:lnTo>
                    <a:pt x="95" y="2"/>
                  </a:lnTo>
                  <a:lnTo>
                    <a:pt x="96" y="2"/>
                  </a:lnTo>
                  <a:lnTo>
                    <a:pt x="99" y="1"/>
                  </a:lnTo>
                  <a:lnTo>
                    <a:pt x="101" y="0"/>
                  </a:lnTo>
                  <a:lnTo>
                    <a:pt x="103" y="1"/>
                  </a:lnTo>
                  <a:lnTo>
                    <a:pt x="104" y="1"/>
                  </a:lnTo>
                  <a:lnTo>
                    <a:pt x="106" y="2"/>
                  </a:lnTo>
                  <a:lnTo>
                    <a:pt x="108" y="3"/>
                  </a:lnTo>
                  <a:lnTo>
                    <a:pt x="111" y="4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16" y="5"/>
                  </a:lnTo>
                  <a:lnTo>
                    <a:pt x="116" y="5"/>
                  </a:lnTo>
                  <a:lnTo>
                    <a:pt x="116" y="4"/>
                  </a:lnTo>
                  <a:lnTo>
                    <a:pt x="117" y="4"/>
                  </a:lnTo>
                  <a:lnTo>
                    <a:pt x="117" y="3"/>
                  </a:lnTo>
                  <a:lnTo>
                    <a:pt x="117" y="3"/>
                  </a:lnTo>
                  <a:lnTo>
                    <a:pt x="118" y="2"/>
                  </a:lnTo>
                  <a:lnTo>
                    <a:pt x="118" y="1"/>
                  </a:lnTo>
                  <a:lnTo>
                    <a:pt x="118" y="1"/>
                  </a:lnTo>
                  <a:lnTo>
                    <a:pt x="118" y="0"/>
                  </a:lnTo>
                  <a:lnTo>
                    <a:pt x="119" y="0"/>
                  </a:lnTo>
                  <a:lnTo>
                    <a:pt x="119" y="0"/>
                  </a:lnTo>
                  <a:lnTo>
                    <a:pt x="120" y="0"/>
                  </a:lnTo>
                  <a:lnTo>
                    <a:pt x="121" y="1"/>
                  </a:lnTo>
                  <a:lnTo>
                    <a:pt x="122" y="2"/>
                  </a:lnTo>
                  <a:lnTo>
                    <a:pt x="124" y="5"/>
                  </a:lnTo>
                  <a:lnTo>
                    <a:pt x="125" y="6"/>
                  </a:lnTo>
                  <a:lnTo>
                    <a:pt x="126" y="7"/>
                  </a:lnTo>
                  <a:lnTo>
                    <a:pt x="127" y="8"/>
                  </a:lnTo>
                  <a:lnTo>
                    <a:pt x="128" y="10"/>
                  </a:lnTo>
                  <a:lnTo>
                    <a:pt x="129" y="11"/>
                  </a:lnTo>
                  <a:lnTo>
                    <a:pt x="131" y="12"/>
                  </a:lnTo>
                  <a:lnTo>
                    <a:pt x="132" y="12"/>
                  </a:lnTo>
                  <a:lnTo>
                    <a:pt x="134" y="13"/>
                  </a:lnTo>
                  <a:lnTo>
                    <a:pt x="135" y="14"/>
                  </a:lnTo>
                  <a:lnTo>
                    <a:pt x="137" y="14"/>
                  </a:lnTo>
                  <a:lnTo>
                    <a:pt x="138" y="15"/>
                  </a:lnTo>
                  <a:lnTo>
                    <a:pt x="139" y="15"/>
                  </a:lnTo>
                  <a:lnTo>
                    <a:pt x="140" y="15"/>
                  </a:lnTo>
                  <a:lnTo>
                    <a:pt x="141" y="15"/>
                  </a:lnTo>
                </a:path>
              </a:pathLst>
            </a:custGeom>
            <a:grpFill/>
            <a:ln w="3175" cap="flat" cmpd="sng">
              <a:solidFill>
                <a:schemeClr val="accent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algn="ctr" defTabSz="781394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800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51" name="Freeform 13"/>
            <p:cNvSpPr>
              <a:spLocks/>
            </p:cNvSpPr>
            <p:nvPr/>
          </p:nvSpPr>
          <p:spPr bwMode="auto">
            <a:xfrm>
              <a:off x="2955851" y="4122018"/>
              <a:ext cx="822196" cy="1324537"/>
            </a:xfrm>
            <a:custGeom>
              <a:avLst/>
              <a:gdLst/>
              <a:ahLst/>
              <a:cxnLst>
                <a:cxn ang="0">
                  <a:pos x="77" y="17"/>
                </a:cxn>
                <a:cxn ang="0">
                  <a:pos x="84" y="37"/>
                </a:cxn>
                <a:cxn ang="0">
                  <a:pos x="86" y="57"/>
                </a:cxn>
                <a:cxn ang="0">
                  <a:pos x="81" y="75"/>
                </a:cxn>
                <a:cxn ang="0">
                  <a:pos x="91" y="84"/>
                </a:cxn>
                <a:cxn ang="0">
                  <a:pos x="97" y="94"/>
                </a:cxn>
                <a:cxn ang="0">
                  <a:pos x="102" y="104"/>
                </a:cxn>
                <a:cxn ang="0">
                  <a:pos x="109" y="109"/>
                </a:cxn>
                <a:cxn ang="0">
                  <a:pos x="109" y="115"/>
                </a:cxn>
                <a:cxn ang="0">
                  <a:pos x="108" y="117"/>
                </a:cxn>
                <a:cxn ang="0">
                  <a:pos x="106" y="119"/>
                </a:cxn>
                <a:cxn ang="0">
                  <a:pos x="102" y="120"/>
                </a:cxn>
                <a:cxn ang="0">
                  <a:pos x="101" y="119"/>
                </a:cxn>
                <a:cxn ang="0">
                  <a:pos x="98" y="121"/>
                </a:cxn>
                <a:cxn ang="0">
                  <a:pos x="94" y="125"/>
                </a:cxn>
                <a:cxn ang="0">
                  <a:pos x="93" y="128"/>
                </a:cxn>
                <a:cxn ang="0">
                  <a:pos x="88" y="130"/>
                </a:cxn>
                <a:cxn ang="0">
                  <a:pos x="85" y="132"/>
                </a:cxn>
                <a:cxn ang="0">
                  <a:pos x="83" y="134"/>
                </a:cxn>
                <a:cxn ang="0">
                  <a:pos x="78" y="136"/>
                </a:cxn>
                <a:cxn ang="0">
                  <a:pos x="72" y="140"/>
                </a:cxn>
                <a:cxn ang="0">
                  <a:pos x="70" y="144"/>
                </a:cxn>
                <a:cxn ang="0">
                  <a:pos x="66" y="148"/>
                </a:cxn>
                <a:cxn ang="0">
                  <a:pos x="63" y="151"/>
                </a:cxn>
                <a:cxn ang="0">
                  <a:pos x="59" y="158"/>
                </a:cxn>
                <a:cxn ang="0">
                  <a:pos x="54" y="165"/>
                </a:cxn>
                <a:cxn ang="0">
                  <a:pos x="51" y="162"/>
                </a:cxn>
                <a:cxn ang="0">
                  <a:pos x="49" y="160"/>
                </a:cxn>
                <a:cxn ang="0">
                  <a:pos x="50" y="157"/>
                </a:cxn>
                <a:cxn ang="0">
                  <a:pos x="47" y="152"/>
                </a:cxn>
                <a:cxn ang="0">
                  <a:pos x="43" y="148"/>
                </a:cxn>
                <a:cxn ang="0">
                  <a:pos x="40" y="147"/>
                </a:cxn>
                <a:cxn ang="0">
                  <a:pos x="37" y="148"/>
                </a:cxn>
                <a:cxn ang="0">
                  <a:pos x="24" y="149"/>
                </a:cxn>
                <a:cxn ang="0">
                  <a:pos x="17" y="146"/>
                </a:cxn>
                <a:cxn ang="0">
                  <a:pos x="15" y="139"/>
                </a:cxn>
                <a:cxn ang="0">
                  <a:pos x="13" y="135"/>
                </a:cxn>
                <a:cxn ang="0">
                  <a:pos x="11" y="129"/>
                </a:cxn>
                <a:cxn ang="0">
                  <a:pos x="9" y="123"/>
                </a:cxn>
                <a:cxn ang="0">
                  <a:pos x="3" y="122"/>
                </a:cxn>
                <a:cxn ang="0">
                  <a:pos x="1" y="118"/>
                </a:cxn>
                <a:cxn ang="0">
                  <a:pos x="0" y="110"/>
                </a:cxn>
                <a:cxn ang="0">
                  <a:pos x="1" y="109"/>
                </a:cxn>
                <a:cxn ang="0">
                  <a:pos x="11" y="103"/>
                </a:cxn>
                <a:cxn ang="0">
                  <a:pos x="36" y="87"/>
                </a:cxn>
                <a:cxn ang="0">
                  <a:pos x="35" y="82"/>
                </a:cxn>
                <a:cxn ang="0">
                  <a:pos x="36" y="77"/>
                </a:cxn>
                <a:cxn ang="0">
                  <a:pos x="40" y="68"/>
                </a:cxn>
                <a:cxn ang="0">
                  <a:pos x="39" y="57"/>
                </a:cxn>
                <a:cxn ang="0">
                  <a:pos x="32" y="52"/>
                </a:cxn>
                <a:cxn ang="0">
                  <a:pos x="31" y="31"/>
                </a:cxn>
                <a:cxn ang="0">
                  <a:pos x="27" y="25"/>
                </a:cxn>
                <a:cxn ang="0">
                  <a:pos x="25" y="20"/>
                </a:cxn>
                <a:cxn ang="0">
                  <a:pos x="28" y="8"/>
                </a:cxn>
                <a:cxn ang="0">
                  <a:pos x="34" y="1"/>
                </a:cxn>
                <a:cxn ang="0">
                  <a:pos x="60" y="1"/>
                </a:cxn>
                <a:cxn ang="0">
                  <a:pos x="70" y="2"/>
                </a:cxn>
              </a:cxnLst>
              <a:rect l="0" t="0" r="r" b="b"/>
              <a:pathLst>
                <a:path w="110" h="165">
                  <a:moveTo>
                    <a:pt x="71" y="4"/>
                  </a:moveTo>
                  <a:lnTo>
                    <a:pt x="72" y="6"/>
                  </a:lnTo>
                  <a:lnTo>
                    <a:pt x="73" y="7"/>
                  </a:lnTo>
                  <a:lnTo>
                    <a:pt x="74" y="9"/>
                  </a:lnTo>
                  <a:lnTo>
                    <a:pt x="75" y="11"/>
                  </a:lnTo>
                  <a:lnTo>
                    <a:pt x="76" y="13"/>
                  </a:lnTo>
                  <a:lnTo>
                    <a:pt x="77" y="15"/>
                  </a:lnTo>
                  <a:lnTo>
                    <a:pt x="77" y="17"/>
                  </a:lnTo>
                  <a:lnTo>
                    <a:pt x="78" y="19"/>
                  </a:lnTo>
                  <a:lnTo>
                    <a:pt x="79" y="21"/>
                  </a:lnTo>
                  <a:lnTo>
                    <a:pt x="80" y="23"/>
                  </a:lnTo>
                  <a:lnTo>
                    <a:pt x="82" y="28"/>
                  </a:lnTo>
                  <a:lnTo>
                    <a:pt x="82" y="30"/>
                  </a:lnTo>
                  <a:lnTo>
                    <a:pt x="83" y="33"/>
                  </a:lnTo>
                  <a:lnTo>
                    <a:pt x="84" y="35"/>
                  </a:lnTo>
                  <a:lnTo>
                    <a:pt x="84" y="37"/>
                  </a:lnTo>
                  <a:lnTo>
                    <a:pt x="85" y="40"/>
                  </a:lnTo>
                  <a:lnTo>
                    <a:pt x="85" y="42"/>
                  </a:lnTo>
                  <a:lnTo>
                    <a:pt x="86" y="45"/>
                  </a:lnTo>
                  <a:lnTo>
                    <a:pt x="86" y="47"/>
                  </a:lnTo>
                  <a:lnTo>
                    <a:pt x="86" y="49"/>
                  </a:lnTo>
                  <a:lnTo>
                    <a:pt x="86" y="52"/>
                  </a:lnTo>
                  <a:lnTo>
                    <a:pt x="86" y="54"/>
                  </a:lnTo>
                  <a:lnTo>
                    <a:pt x="86" y="57"/>
                  </a:lnTo>
                  <a:lnTo>
                    <a:pt x="86" y="59"/>
                  </a:lnTo>
                  <a:lnTo>
                    <a:pt x="86" y="62"/>
                  </a:lnTo>
                  <a:lnTo>
                    <a:pt x="85" y="64"/>
                  </a:lnTo>
                  <a:lnTo>
                    <a:pt x="85" y="66"/>
                  </a:lnTo>
                  <a:lnTo>
                    <a:pt x="84" y="69"/>
                  </a:lnTo>
                  <a:lnTo>
                    <a:pt x="83" y="71"/>
                  </a:lnTo>
                  <a:lnTo>
                    <a:pt x="83" y="73"/>
                  </a:lnTo>
                  <a:lnTo>
                    <a:pt x="81" y="75"/>
                  </a:lnTo>
                  <a:lnTo>
                    <a:pt x="82" y="76"/>
                  </a:lnTo>
                  <a:lnTo>
                    <a:pt x="83" y="77"/>
                  </a:lnTo>
                  <a:lnTo>
                    <a:pt x="84" y="78"/>
                  </a:lnTo>
                  <a:lnTo>
                    <a:pt x="85" y="79"/>
                  </a:lnTo>
                  <a:lnTo>
                    <a:pt x="86" y="80"/>
                  </a:lnTo>
                  <a:lnTo>
                    <a:pt x="88" y="82"/>
                  </a:lnTo>
                  <a:lnTo>
                    <a:pt x="90" y="83"/>
                  </a:lnTo>
                  <a:lnTo>
                    <a:pt x="91" y="84"/>
                  </a:lnTo>
                  <a:lnTo>
                    <a:pt x="92" y="85"/>
                  </a:lnTo>
                  <a:lnTo>
                    <a:pt x="93" y="86"/>
                  </a:lnTo>
                  <a:lnTo>
                    <a:pt x="94" y="87"/>
                  </a:lnTo>
                  <a:lnTo>
                    <a:pt x="94" y="88"/>
                  </a:lnTo>
                  <a:lnTo>
                    <a:pt x="95" y="89"/>
                  </a:lnTo>
                  <a:lnTo>
                    <a:pt x="95" y="90"/>
                  </a:lnTo>
                  <a:lnTo>
                    <a:pt x="96" y="92"/>
                  </a:lnTo>
                  <a:lnTo>
                    <a:pt x="97" y="94"/>
                  </a:lnTo>
                  <a:lnTo>
                    <a:pt x="97" y="95"/>
                  </a:lnTo>
                  <a:lnTo>
                    <a:pt x="98" y="97"/>
                  </a:lnTo>
                  <a:lnTo>
                    <a:pt x="99" y="99"/>
                  </a:lnTo>
                  <a:lnTo>
                    <a:pt x="99" y="100"/>
                  </a:lnTo>
                  <a:lnTo>
                    <a:pt x="100" y="102"/>
                  </a:lnTo>
                  <a:lnTo>
                    <a:pt x="100" y="103"/>
                  </a:lnTo>
                  <a:lnTo>
                    <a:pt x="101" y="103"/>
                  </a:lnTo>
                  <a:lnTo>
                    <a:pt x="102" y="104"/>
                  </a:lnTo>
                  <a:lnTo>
                    <a:pt x="103" y="104"/>
                  </a:lnTo>
                  <a:lnTo>
                    <a:pt x="104" y="105"/>
                  </a:lnTo>
                  <a:lnTo>
                    <a:pt x="106" y="106"/>
                  </a:lnTo>
                  <a:lnTo>
                    <a:pt x="107" y="106"/>
                  </a:lnTo>
                  <a:lnTo>
                    <a:pt x="107" y="107"/>
                  </a:lnTo>
                  <a:lnTo>
                    <a:pt x="108" y="107"/>
                  </a:lnTo>
                  <a:lnTo>
                    <a:pt x="108" y="108"/>
                  </a:lnTo>
                  <a:lnTo>
                    <a:pt x="109" y="109"/>
                  </a:lnTo>
                  <a:lnTo>
                    <a:pt x="109" y="110"/>
                  </a:lnTo>
                  <a:lnTo>
                    <a:pt x="110" y="111"/>
                  </a:lnTo>
                  <a:lnTo>
                    <a:pt x="110" y="112"/>
                  </a:lnTo>
                  <a:lnTo>
                    <a:pt x="110" y="113"/>
                  </a:lnTo>
                  <a:lnTo>
                    <a:pt x="110" y="114"/>
                  </a:lnTo>
                  <a:lnTo>
                    <a:pt x="110" y="114"/>
                  </a:lnTo>
                  <a:lnTo>
                    <a:pt x="110" y="115"/>
                  </a:lnTo>
                  <a:lnTo>
                    <a:pt x="109" y="115"/>
                  </a:lnTo>
                  <a:lnTo>
                    <a:pt x="109" y="115"/>
                  </a:lnTo>
                  <a:lnTo>
                    <a:pt x="108" y="115"/>
                  </a:lnTo>
                  <a:lnTo>
                    <a:pt x="108" y="116"/>
                  </a:lnTo>
                  <a:lnTo>
                    <a:pt x="108" y="116"/>
                  </a:lnTo>
                  <a:lnTo>
                    <a:pt x="108" y="116"/>
                  </a:lnTo>
                  <a:lnTo>
                    <a:pt x="108" y="117"/>
                  </a:lnTo>
                  <a:lnTo>
                    <a:pt x="108" y="117"/>
                  </a:lnTo>
                  <a:lnTo>
                    <a:pt x="108" y="117"/>
                  </a:lnTo>
                  <a:lnTo>
                    <a:pt x="107" y="117"/>
                  </a:lnTo>
                  <a:lnTo>
                    <a:pt x="107" y="117"/>
                  </a:lnTo>
                  <a:lnTo>
                    <a:pt x="107" y="117"/>
                  </a:lnTo>
                  <a:lnTo>
                    <a:pt x="106" y="117"/>
                  </a:lnTo>
                  <a:lnTo>
                    <a:pt x="106" y="118"/>
                  </a:lnTo>
                  <a:lnTo>
                    <a:pt x="106" y="118"/>
                  </a:lnTo>
                  <a:lnTo>
                    <a:pt x="106" y="119"/>
                  </a:lnTo>
                  <a:lnTo>
                    <a:pt x="106" y="119"/>
                  </a:lnTo>
                  <a:lnTo>
                    <a:pt x="105" y="119"/>
                  </a:lnTo>
                  <a:lnTo>
                    <a:pt x="105" y="119"/>
                  </a:lnTo>
                  <a:lnTo>
                    <a:pt x="105" y="119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3" y="120"/>
                  </a:lnTo>
                  <a:lnTo>
                    <a:pt x="103" y="120"/>
                  </a:lnTo>
                  <a:lnTo>
                    <a:pt x="102" y="120"/>
                  </a:lnTo>
                  <a:lnTo>
                    <a:pt x="102" y="120"/>
                  </a:lnTo>
                  <a:lnTo>
                    <a:pt x="101" y="120"/>
                  </a:lnTo>
                  <a:lnTo>
                    <a:pt x="101" y="120"/>
                  </a:lnTo>
                  <a:lnTo>
                    <a:pt x="101" y="120"/>
                  </a:lnTo>
                  <a:lnTo>
                    <a:pt x="101" y="119"/>
                  </a:lnTo>
                  <a:lnTo>
                    <a:pt x="101" y="119"/>
                  </a:lnTo>
                  <a:lnTo>
                    <a:pt x="101" y="119"/>
                  </a:lnTo>
                  <a:lnTo>
                    <a:pt x="101" y="119"/>
                  </a:lnTo>
                  <a:lnTo>
                    <a:pt x="100" y="119"/>
                  </a:lnTo>
                  <a:lnTo>
                    <a:pt x="100" y="119"/>
                  </a:lnTo>
                  <a:lnTo>
                    <a:pt x="100" y="119"/>
                  </a:lnTo>
                  <a:lnTo>
                    <a:pt x="100" y="120"/>
                  </a:lnTo>
                  <a:lnTo>
                    <a:pt x="100" y="120"/>
                  </a:lnTo>
                  <a:lnTo>
                    <a:pt x="100" y="120"/>
                  </a:lnTo>
                  <a:lnTo>
                    <a:pt x="99" y="121"/>
                  </a:lnTo>
                  <a:lnTo>
                    <a:pt x="98" y="121"/>
                  </a:lnTo>
                  <a:lnTo>
                    <a:pt x="97" y="122"/>
                  </a:lnTo>
                  <a:lnTo>
                    <a:pt x="97" y="122"/>
                  </a:lnTo>
                  <a:lnTo>
                    <a:pt x="96" y="123"/>
                  </a:lnTo>
                  <a:lnTo>
                    <a:pt x="96" y="124"/>
                  </a:lnTo>
                  <a:lnTo>
                    <a:pt x="95" y="124"/>
                  </a:lnTo>
                  <a:lnTo>
                    <a:pt x="95" y="125"/>
                  </a:lnTo>
                  <a:lnTo>
                    <a:pt x="94" y="125"/>
                  </a:lnTo>
                  <a:lnTo>
                    <a:pt x="94" y="125"/>
                  </a:lnTo>
                  <a:lnTo>
                    <a:pt x="94" y="125"/>
                  </a:lnTo>
                  <a:lnTo>
                    <a:pt x="93" y="126"/>
                  </a:lnTo>
                  <a:lnTo>
                    <a:pt x="93" y="126"/>
                  </a:lnTo>
                  <a:lnTo>
                    <a:pt x="93" y="126"/>
                  </a:lnTo>
                  <a:lnTo>
                    <a:pt x="93" y="127"/>
                  </a:lnTo>
                  <a:lnTo>
                    <a:pt x="93" y="127"/>
                  </a:lnTo>
                  <a:lnTo>
                    <a:pt x="93" y="128"/>
                  </a:lnTo>
                  <a:lnTo>
                    <a:pt x="93" y="128"/>
                  </a:lnTo>
                  <a:lnTo>
                    <a:pt x="92" y="128"/>
                  </a:lnTo>
                  <a:lnTo>
                    <a:pt x="92" y="129"/>
                  </a:lnTo>
                  <a:lnTo>
                    <a:pt x="91" y="130"/>
                  </a:lnTo>
                  <a:lnTo>
                    <a:pt x="90" y="130"/>
                  </a:lnTo>
                  <a:lnTo>
                    <a:pt x="89" y="130"/>
                  </a:lnTo>
                  <a:lnTo>
                    <a:pt x="89" y="130"/>
                  </a:lnTo>
                  <a:lnTo>
                    <a:pt x="88" y="130"/>
                  </a:lnTo>
                  <a:lnTo>
                    <a:pt x="88" y="130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2"/>
                  </a:lnTo>
                  <a:lnTo>
                    <a:pt x="87" y="132"/>
                  </a:lnTo>
                  <a:lnTo>
                    <a:pt x="86" y="132"/>
                  </a:lnTo>
                  <a:lnTo>
                    <a:pt x="86" y="132"/>
                  </a:lnTo>
                  <a:lnTo>
                    <a:pt x="85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3" y="132"/>
                  </a:lnTo>
                  <a:lnTo>
                    <a:pt x="83" y="132"/>
                  </a:lnTo>
                  <a:lnTo>
                    <a:pt x="83" y="133"/>
                  </a:lnTo>
                  <a:lnTo>
                    <a:pt x="83" y="133"/>
                  </a:lnTo>
                  <a:lnTo>
                    <a:pt x="83" y="134"/>
                  </a:lnTo>
                  <a:lnTo>
                    <a:pt x="82" y="134"/>
                  </a:lnTo>
                  <a:lnTo>
                    <a:pt x="81" y="134"/>
                  </a:lnTo>
                  <a:lnTo>
                    <a:pt x="80" y="134"/>
                  </a:lnTo>
                  <a:lnTo>
                    <a:pt x="80" y="134"/>
                  </a:lnTo>
                  <a:lnTo>
                    <a:pt x="79" y="135"/>
                  </a:lnTo>
                  <a:lnTo>
                    <a:pt x="78" y="135"/>
                  </a:lnTo>
                  <a:lnTo>
                    <a:pt x="78" y="136"/>
                  </a:lnTo>
                  <a:lnTo>
                    <a:pt x="78" y="136"/>
                  </a:lnTo>
                  <a:lnTo>
                    <a:pt x="77" y="138"/>
                  </a:lnTo>
                  <a:lnTo>
                    <a:pt x="76" y="138"/>
                  </a:lnTo>
                  <a:lnTo>
                    <a:pt x="76" y="139"/>
                  </a:lnTo>
                  <a:lnTo>
                    <a:pt x="75" y="139"/>
                  </a:lnTo>
                  <a:lnTo>
                    <a:pt x="75" y="140"/>
                  </a:lnTo>
                  <a:lnTo>
                    <a:pt x="74" y="140"/>
                  </a:lnTo>
                  <a:lnTo>
                    <a:pt x="73" y="140"/>
                  </a:lnTo>
                  <a:lnTo>
                    <a:pt x="72" y="140"/>
                  </a:lnTo>
                  <a:lnTo>
                    <a:pt x="72" y="141"/>
                  </a:lnTo>
                  <a:lnTo>
                    <a:pt x="71" y="141"/>
                  </a:lnTo>
                  <a:lnTo>
                    <a:pt x="71" y="141"/>
                  </a:lnTo>
                  <a:lnTo>
                    <a:pt x="71" y="142"/>
                  </a:lnTo>
                  <a:lnTo>
                    <a:pt x="70" y="142"/>
                  </a:lnTo>
                  <a:lnTo>
                    <a:pt x="70" y="143"/>
                  </a:lnTo>
                  <a:lnTo>
                    <a:pt x="70" y="144"/>
                  </a:lnTo>
                  <a:lnTo>
                    <a:pt x="70" y="144"/>
                  </a:lnTo>
                  <a:lnTo>
                    <a:pt x="69" y="145"/>
                  </a:lnTo>
                  <a:lnTo>
                    <a:pt x="69" y="145"/>
                  </a:lnTo>
                  <a:lnTo>
                    <a:pt x="69" y="146"/>
                  </a:lnTo>
                  <a:lnTo>
                    <a:pt x="68" y="146"/>
                  </a:lnTo>
                  <a:lnTo>
                    <a:pt x="67" y="147"/>
                  </a:lnTo>
                  <a:lnTo>
                    <a:pt x="67" y="147"/>
                  </a:lnTo>
                  <a:lnTo>
                    <a:pt x="67" y="148"/>
                  </a:lnTo>
                  <a:lnTo>
                    <a:pt x="66" y="148"/>
                  </a:lnTo>
                  <a:lnTo>
                    <a:pt x="66" y="149"/>
                  </a:lnTo>
                  <a:lnTo>
                    <a:pt x="66" y="149"/>
                  </a:lnTo>
                  <a:lnTo>
                    <a:pt x="65" y="149"/>
                  </a:lnTo>
                  <a:lnTo>
                    <a:pt x="65" y="149"/>
                  </a:lnTo>
                  <a:lnTo>
                    <a:pt x="64" y="150"/>
                  </a:lnTo>
                  <a:lnTo>
                    <a:pt x="64" y="150"/>
                  </a:lnTo>
                  <a:lnTo>
                    <a:pt x="64" y="151"/>
                  </a:lnTo>
                  <a:lnTo>
                    <a:pt x="63" y="151"/>
                  </a:lnTo>
                  <a:lnTo>
                    <a:pt x="63" y="152"/>
                  </a:lnTo>
                  <a:lnTo>
                    <a:pt x="62" y="152"/>
                  </a:lnTo>
                  <a:lnTo>
                    <a:pt x="62" y="153"/>
                  </a:lnTo>
                  <a:lnTo>
                    <a:pt x="61" y="154"/>
                  </a:lnTo>
                  <a:lnTo>
                    <a:pt x="61" y="154"/>
                  </a:lnTo>
                  <a:lnTo>
                    <a:pt x="60" y="155"/>
                  </a:lnTo>
                  <a:lnTo>
                    <a:pt x="60" y="156"/>
                  </a:lnTo>
                  <a:lnTo>
                    <a:pt x="59" y="158"/>
                  </a:lnTo>
                  <a:lnTo>
                    <a:pt x="58" y="160"/>
                  </a:lnTo>
                  <a:lnTo>
                    <a:pt x="58" y="162"/>
                  </a:lnTo>
                  <a:lnTo>
                    <a:pt x="57" y="163"/>
                  </a:lnTo>
                  <a:lnTo>
                    <a:pt x="56" y="165"/>
                  </a:lnTo>
                  <a:lnTo>
                    <a:pt x="56" y="165"/>
                  </a:lnTo>
                  <a:lnTo>
                    <a:pt x="55" y="165"/>
                  </a:lnTo>
                  <a:lnTo>
                    <a:pt x="54" y="165"/>
                  </a:lnTo>
                  <a:lnTo>
                    <a:pt x="54" y="165"/>
                  </a:lnTo>
                  <a:lnTo>
                    <a:pt x="53" y="165"/>
                  </a:lnTo>
                  <a:lnTo>
                    <a:pt x="53" y="165"/>
                  </a:lnTo>
                  <a:lnTo>
                    <a:pt x="53" y="164"/>
                  </a:lnTo>
                  <a:lnTo>
                    <a:pt x="53" y="164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1" y="162"/>
                  </a:lnTo>
                  <a:lnTo>
                    <a:pt x="51" y="162"/>
                  </a:lnTo>
                  <a:lnTo>
                    <a:pt x="50" y="162"/>
                  </a:lnTo>
                  <a:lnTo>
                    <a:pt x="50" y="162"/>
                  </a:lnTo>
                  <a:lnTo>
                    <a:pt x="50" y="161"/>
                  </a:lnTo>
                  <a:lnTo>
                    <a:pt x="50" y="161"/>
                  </a:lnTo>
                  <a:lnTo>
                    <a:pt x="50" y="161"/>
                  </a:lnTo>
                  <a:lnTo>
                    <a:pt x="49" y="160"/>
                  </a:lnTo>
                  <a:lnTo>
                    <a:pt x="49" y="160"/>
                  </a:lnTo>
                  <a:lnTo>
                    <a:pt x="49" y="160"/>
                  </a:lnTo>
                  <a:lnTo>
                    <a:pt x="48" y="160"/>
                  </a:lnTo>
                  <a:lnTo>
                    <a:pt x="48" y="160"/>
                  </a:lnTo>
                  <a:lnTo>
                    <a:pt x="49" y="159"/>
                  </a:lnTo>
                  <a:lnTo>
                    <a:pt x="49" y="159"/>
                  </a:lnTo>
                  <a:lnTo>
                    <a:pt x="49" y="158"/>
                  </a:lnTo>
                  <a:lnTo>
                    <a:pt x="49" y="158"/>
                  </a:lnTo>
                  <a:lnTo>
                    <a:pt x="50" y="157"/>
                  </a:lnTo>
                  <a:lnTo>
                    <a:pt x="50" y="157"/>
                  </a:lnTo>
                  <a:lnTo>
                    <a:pt x="50" y="157"/>
                  </a:lnTo>
                  <a:lnTo>
                    <a:pt x="50" y="156"/>
                  </a:lnTo>
                  <a:lnTo>
                    <a:pt x="49" y="155"/>
                  </a:lnTo>
                  <a:lnTo>
                    <a:pt x="49" y="154"/>
                  </a:lnTo>
                  <a:lnTo>
                    <a:pt x="49" y="153"/>
                  </a:lnTo>
                  <a:lnTo>
                    <a:pt x="48" y="152"/>
                  </a:lnTo>
                  <a:lnTo>
                    <a:pt x="47" y="152"/>
                  </a:lnTo>
                  <a:lnTo>
                    <a:pt x="47" y="151"/>
                  </a:lnTo>
                  <a:lnTo>
                    <a:pt x="46" y="150"/>
                  </a:lnTo>
                  <a:lnTo>
                    <a:pt x="45" y="150"/>
                  </a:lnTo>
                  <a:lnTo>
                    <a:pt x="44" y="149"/>
                  </a:lnTo>
                  <a:lnTo>
                    <a:pt x="44" y="149"/>
                  </a:lnTo>
                  <a:lnTo>
                    <a:pt x="43" y="149"/>
                  </a:lnTo>
                  <a:lnTo>
                    <a:pt x="43" y="148"/>
                  </a:lnTo>
                  <a:lnTo>
                    <a:pt x="43" y="148"/>
                  </a:lnTo>
                  <a:lnTo>
                    <a:pt x="43" y="147"/>
                  </a:lnTo>
                  <a:lnTo>
                    <a:pt x="43" y="147"/>
                  </a:lnTo>
                  <a:lnTo>
                    <a:pt x="42" y="147"/>
                  </a:lnTo>
                  <a:lnTo>
                    <a:pt x="42" y="147"/>
                  </a:lnTo>
                  <a:lnTo>
                    <a:pt x="41" y="147"/>
                  </a:lnTo>
                  <a:lnTo>
                    <a:pt x="41" y="147"/>
                  </a:lnTo>
                  <a:lnTo>
                    <a:pt x="41" y="147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39" y="147"/>
                  </a:lnTo>
                  <a:lnTo>
                    <a:pt x="38" y="147"/>
                  </a:lnTo>
                  <a:lnTo>
                    <a:pt x="38" y="147"/>
                  </a:lnTo>
                  <a:lnTo>
                    <a:pt x="37" y="147"/>
                  </a:lnTo>
                  <a:lnTo>
                    <a:pt x="37" y="147"/>
                  </a:lnTo>
                  <a:lnTo>
                    <a:pt x="37" y="148"/>
                  </a:lnTo>
                  <a:lnTo>
                    <a:pt x="37" y="148"/>
                  </a:lnTo>
                  <a:lnTo>
                    <a:pt x="36" y="149"/>
                  </a:lnTo>
                  <a:lnTo>
                    <a:pt x="35" y="148"/>
                  </a:lnTo>
                  <a:lnTo>
                    <a:pt x="34" y="148"/>
                  </a:lnTo>
                  <a:lnTo>
                    <a:pt x="32" y="148"/>
                  </a:lnTo>
                  <a:lnTo>
                    <a:pt x="31" y="148"/>
                  </a:lnTo>
                  <a:lnTo>
                    <a:pt x="28" y="149"/>
                  </a:lnTo>
                  <a:lnTo>
                    <a:pt x="25" y="149"/>
                  </a:lnTo>
                  <a:lnTo>
                    <a:pt x="24" y="149"/>
                  </a:lnTo>
                  <a:lnTo>
                    <a:pt x="22" y="149"/>
                  </a:lnTo>
                  <a:lnTo>
                    <a:pt x="21" y="149"/>
                  </a:lnTo>
                  <a:lnTo>
                    <a:pt x="20" y="149"/>
                  </a:lnTo>
                  <a:lnTo>
                    <a:pt x="19" y="148"/>
                  </a:lnTo>
                  <a:lnTo>
                    <a:pt x="18" y="148"/>
                  </a:lnTo>
                  <a:lnTo>
                    <a:pt x="17" y="148"/>
                  </a:lnTo>
                  <a:lnTo>
                    <a:pt x="16" y="147"/>
                  </a:lnTo>
                  <a:lnTo>
                    <a:pt x="17" y="146"/>
                  </a:lnTo>
                  <a:lnTo>
                    <a:pt x="17" y="146"/>
                  </a:lnTo>
                  <a:lnTo>
                    <a:pt x="16" y="145"/>
                  </a:lnTo>
                  <a:lnTo>
                    <a:pt x="16" y="145"/>
                  </a:lnTo>
                  <a:lnTo>
                    <a:pt x="16" y="144"/>
                  </a:lnTo>
                  <a:lnTo>
                    <a:pt x="16" y="144"/>
                  </a:lnTo>
                  <a:lnTo>
                    <a:pt x="15" y="144"/>
                  </a:lnTo>
                  <a:lnTo>
                    <a:pt x="15" y="144"/>
                  </a:lnTo>
                  <a:lnTo>
                    <a:pt x="15" y="139"/>
                  </a:lnTo>
                  <a:lnTo>
                    <a:pt x="15" y="138"/>
                  </a:lnTo>
                  <a:lnTo>
                    <a:pt x="15" y="137"/>
                  </a:lnTo>
                  <a:lnTo>
                    <a:pt x="15" y="137"/>
                  </a:lnTo>
                  <a:lnTo>
                    <a:pt x="15" y="136"/>
                  </a:lnTo>
                  <a:lnTo>
                    <a:pt x="14" y="136"/>
                  </a:lnTo>
                  <a:lnTo>
                    <a:pt x="14" y="136"/>
                  </a:lnTo>
                  <a:lnTo>
                    <a:pt x="13" y="135"/>
                  </a:lnTo>
                  <a:lnTo>
                    <a:pt x="13" y="135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3" y="129"/>
                  </a:lnTo>
                  <a:lnTo>
                    <a:pt x="13" y="129"/>
                  </a:lnTo>
                  <a:lnTo>
                    <a:pt x="13" y="129"/>
                  </a:lnTo>
                  <a:lnTo>
                    <a:pt x="12" y="129"/>
                  </a:lnTo>
                  <a:lnTo>
                    <a:pt x="12" y="129"/>
                  </a:lnTo>
                  <a:lnTo>
                    <a:pt x="11" y="129"/>
                  </a:lnTo>
                  <a:lnTo>
                    <a:pt x="11" y="124"/>
                  </a:lnTo>
                  <a:lnTo>
                    <a:pt x="11" y="124"/>
                  </a:lnTo>
                  <a:lnTo>
                    <a:pt x="11" y="124"/>
                  </a:lnTo>
                  <a:lnTo>
                    <a:pt x="10" y="124"/>
                  </a:lnTo>
                  <a:lnTo>
                    <a:pt x="10" y="124"/>
                  </a:lnTo>
                  <a:lnTo>
                    <a:pt x="10" y="123"/>
                  </a:lnTo>
                  <a:lnTo>
                    <a:pt x="9" y="123"/>
                  </a:lnTo>
                  <a:lnTo>
                    <a:pt x="9" y="123"/>
                  </a:lnTo>
                  <a:lnTo>
                    <a:pt x="9" y="123"/>
                  </a:lnTo>
                  <a:lnTo>
                    <a:pt x="9" y="122"/>
                  </a:lnTo>
                  <a:lnTo>
                    <a:pt x="8" y="122"/>
                  </a:lnTo>
                  <a:lnTo>
                    <a:pt x="7" y="122"/>
                  </a:lnTo>
                  <a:lnTo>
                    <a:pt x="6" y="122"/>
                  </a:lnTo>
                  <a:lnTo>
                    <a:pt x="5" y="122"/>
                  </a:lnTo>
                  <a:lnTo>
                    <a:pt x="4" y="122"/>
                  </a:lnTo>
                  <a:lnTo>
                    <a:pt x="3" y="122"/>
                  </a:lnTo>
                  <a:lnTo>
                    <a:pt x="2" y="122"/>
                  </a:lnTo>
                  <a:lnTo>
                    <a:pt x="1" y="122"/>
                  </a:lnTo>
                  <a:lnTo>
                    <a:pt x="1" y="121"/>
                  </a:lnTo>
                  <a:lnTo>
                    <a:pt x="1" y="120"/>
                  </a:lnTo>
                  <a:lnTo>
                    <a:pt x="1" y="119"/>
                  </a:lnTo>
                  <a:lnTo>
                    <a:pt x="1" y="119"/>
                  </a:lnTo>
                  <a:lnTo>
                    <a:pt x="1" y="118"/>
                  </a:lnTo>
                  <a:lnTo>
                    <a:pt x="1" y="118"/>
                  </a:lnTo>
                  <a:lnTo>
                    <a:pt x="1" y="117"/>
                  </a:lnTo>
                  <a:lnTo>
                    <a:pt x="1" y="116"/>
                  </a:lnTo>
                  <a:lnTo>
                    <a:pt x="1" y="116"/>
                  </a:lnTo>
                  <a:lnTo>
                    <a:pt x="1" y="116"/>
                  </a:lnTo>
                  <a:lnTo>
                    <a:pt x="0" y="115"/>
                  </a:lnTo>
                  <a:lnTo>
                    <a:pt x="0" y="115"/>
                  </a:lnTo>
                  <a:lnTo>
                    <a:pt x="0" y="115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1" y="110"/>
                  </a:lnTo>
                  <a:lnTo>
                    <a:pt x="1" y="110"/>
                  </a:lnTo>
                  <a:lnTo>
                    <a:pt x="1" y="110"/>
                  </a:lnTo>
                  <a:lnTo>
                    <a:pt x="1" y="110"/>
                  </a:lnTo>
                  <a:lnTo>
                    <a:pt x="1" y="109"/>
                  </a:lnTo>
                  <a:lnTo>
                    <a:pt x="1" y="109"/>
                  </a:lnTo>
                  <a:lnTo>
                    <a:pt x="2" y="109"/>
                  </a:lnTo>
                  <a:lnTo>
                    <a:pt x="2" y="109"/>
                  </a:lnTo>
                  <a:lnTo>
                    <a:pt x="3" y="109"/>
                  </a:lnTo>
                  <a:lnTo>
                    <a:pt x="3" y="109"/>
                  </a:lnTo>
                  <a:lnTo>
                    <a:pt x="5" y="107"/>
                  </a:lnTo>
                  <a:lnTo>
                    <a:pt x="7" y="106"/>
                  </a:lnTo>
                  <a:lnTo>
                    <a:pt x="9" y="104"/>
                  </a:lnTo>
                  <a:lnTo>
                    <a:pt x="11" y="103"/>
                  </a:lnTo>
                  <a:lnTo>
                    <a:pt x="15" y="100"/>
                  </a:lnTo>
                  <a:lnTo>
                    <a:pt x="20" y="98"/>
                  </a:lnTo>
                  <a:lnTo>
                    <a:pt x="24" y="95"/>
                  </a:lnTo>
                  <a:lnTo>
                    <a:pt x="28" y="93"/>
                  </a:lnTo>
                  <a:lnTo>
                    <a:pt x="30" y="91"/>
                  </a:lnTo>
                  <a:lnTo>
                    <a:pt x="32" y="90"/>
                  </a:lnTo>
                  <a:lnTo>
                    <a:pt x="34" y="89"/>
                  </a:lnTo>
                  <a:lnTo>
                    <a:pt x="36" y="87"/>
                  </a:lnTo>
                  <a:lnTo>
                    <a:pt x="37" y="86"/>
                  </a:lnTo>
                  <a:lnTo>
                    <a:pt x="37" y="86"/>
                  </a:lnTo>
                  <a:lnTo>
                    <a:pt x="37" y="85"/>
                  </a:lnTo>
                  <a:lnTo>
                    <a:pt x="36" y="85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5" y="83"/>
                  </a:lnTo>
                  <a:lnTo>
                    <a:pt x="35" y="82"/>
                  </a:lnTo>
                  <a:lnTo>
                    <a:pt x="35" y="82"/>
                  </a:lnTo>
                  <a:lnTo>
                    <a:pt x="35" y="81"/>
                  </a:lnTo>
                  <a:lnTo>
                    <a:pt x="34" y="81"/>
                  </a:lnTo>
                  <a:lnTo>
                    <a:pt x="34" y="80"/>
                  </a:lnTo>
                  <a:lnTo>
                    <a:pt x="34" y="80"/>
                  </a:lnTo>
                  <a:lnTo>
                    <a:pt x="35" y="79"/>
                  </a:lnTo>
                  <a:lnTo>
                    <a:pt x="36" y="78"/>
                  </a:lnTo>
                  <a:lnTo>
                    <a:pt x="36" y="77"/>
                  </a:lnTo>
                  <a:lnTo>
                    <a:pt x="37" y="76"/>
                  </a:lnTo>
                  <a:lnTo>
                    <a:pt x="38" y="76"/>
                  </a:lnTo>
                  <a:lnTo>
                    <a:pt x="38" y="75"/>
                  </a:lnTo>
                  <a:lnTo>
                    <a:pt x="39" y="73"/>
                  </a:lnTo>
                  <a:lnTo>
                    <a:pt x="39" y="72"/>
                  </a:lnTo>
                  <a:lnTo>
                    <a:pt x="39" y="71"/>
                  </a:lnTo>
                  <a:lnTo>
                    <a:pt x="40" y="70"/>
                  </a:lnTo>
                  <a:lnTo>
                    <a:pt x="40" y="68"/>
                  </a:lnTo>
                  <a:lnTo>
                    <a:pt x="40" y="67"/>
                  </a:lnTo>
                  <a:lnTo>
                    <a:pt x="40" y="65"/>
                  </a:lnTo>
                  <a:lnTo>
                    <a:pt x="40" y="64"/>
                  </a:lnTo>
                  <a:lnTo>
                    <a:pt x="40" y="62"/>
                  </a:lnTo>
                  <a:lnTo>
                    <a:pt x="40" y="60"/>
                  </a:lnTo>
                  <a:lnTo>
                    <a:pt x="40" y="59"/>
                  </a:lnTo>
                  <a:lnTo>
                    <a:pt x="39" y="58"/>
                  </a:lnTo>
                  <a:lnTo>
                    <a:pt x="39" y="57"/>
                  </a:lnTo>
                  <a:lnTo>
                    <a:pt x="38" y="57"/>
                  </a:lnTo>
                  <a:lnTo>
                    <a:pt x="37" y="56"/>
                  </a:lnTo>
                  <a:lnTo>
                    <a:pt x="36" y="56"/>
                  </a:lnTo>
                  <a:lnTo>
                    <a:pt x="35" y="55"/>
                  </a:lnTo>
                  <a:lnTo>
                    <a:pt x="34" y="54"/>
                  </a:lnTo>
                  <a:lnTo>
                    <a:pt x="33" y="54"/>
                  </a:lnTo>
                  <a:lnTo>
                    <a:pt x="33" y="53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1"/>
                  </a:lnTo>
                  <a:lnTo>
                    <a:pt x="31" y="50"/>
                  </a:lnTo>
                  <a:lnTo>
                    <a:pt x="31" y="49"/>
                  </a:lnTo>
                  <a:lnTo>
                    <a:pt x="31" y="44"/>
                  </a:lnTo>
                  <a:lnTo>
                    <a:pt x="31" y="40"/>
                  </a:lnTo>
                  <a:lnTo>
                    <a:pt x="31" y="35"/>
                  </a:lnTo>
                  <a:lnTo>
                    <a:pt x="31" y="31"/>
                  </a:lnTo>
                  <a:lnTo>
                    <a:pt x="31" y="30"/>
                  </a:lnTo>
                  <a:lnTo>
                    <a:pt x="31" y="29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29" y="27"/>
                  </a:lnTo>
                  <a:lnTo>
                    <a:pt x="28" y="27"/>
                  </a:lnTo>
                  <a:lnTo>
                    <a:pt x="27" y="26"/>
                  </a:lnTo>
                  <a:lnTo>
                    <a:pt x="27" y="25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5" y="23"/>
                  </a:lnTo>
                  <a:lnTo>
                    <a:pt x="25" y="22"/>
                  </a:lnTo>
                  <a:lnTo>
                    <a:pt x="25" y="21"/>
                  </a:lnTo>
                  <a:lnTo>
                    <a:pt x="24" y="21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5" y="19"/>
                  </a:lnTo>
                  <a:lnTo>
                    <a:pt x="25" y="18"/>
                  </a:lnTo>
                  <a:lnTo>
                    <a:pt x="25" y="17"/>
                  </a:lnTo>
                  <a:lnTo>
                    <a:pt x="26" y="15"/>
                  </a:lnTo>
                  <a:lnTo>
                    <a:pt x="26" y="13"/>
                  </a:lnTo>
                  <a:lnTo>
                    <a:pt x="27" y="11"/>
                  </a:lnTo>
                  <a:lnTo>
                    <a:pt x="27" y="9"/>
                  </a:lnTo>
                  <a:lnTo>
                    <a:pt x="28" y="8"/>
                  </a:lnTo>
                  <a:lnTo>
                    <a:pt x="28" y="7"/>
                  </a:lnTo>
                  <a:lnTo>
                    <a:pt x="28" y="6"/>
                  </a:lnTo>
                  <a:lnTo>
                    <a:pt x="28" y="5"/>
                  </a:lnTo>
                  <a:lnTo>
                    <a:pt x="28" y="4"/>
                  </a:lnTo>
                  <a:lnTo>
                    <a:pt x="28" y="2"/>
                  </a:lnTo>
                  <a:lnTo>
                    <a:pt x="30" y="2"/>
                  </a:lnTo>
                  <a:lnTo>
                    <a:pt x="32" y="1"/>
                  </a:lnTo>
                  <a:lnTo>
                    <a:pt x="34" y="1"/>
                  </a:lnTo>
                  <a:lnTo>
                    <a:pt x="37" y="0"/>
                  </a:lnTo>
                  <a:lnTo>
                    <a:pt x="39" y="0"/>
                  </a:lnTo>
                  <a:lnTo>
                    <a:pt x="42" y="0"/>
                  </a:lnTo>
                  <a:lnTo>
                    <a:pt x="44" y="0"/>
                  </a:lnTo>
                  <a:lnTo>
                    <a:pt x="47" y="0"/>
                  </a:lnTo>
                  <a:lnTo>
                    <a:pt x="52" y="0"/>
                  </a:lnTo>
                  <a:lnTo>
                    <a:pt x="58" y="1"/>
                  </a:lnTo>
                  <a:lnTo>
                    <a:pt x="60" y="1"/>
                  </a:lnTo>
                  <a:lnTo>
                    <a:pt x="63" y="1"/>
                  </a:lnTo>
                  <a:lnTo>
                    <a:pt x="66" y="1"/>
                  </a:lnTo>
                  <a:lnTo>
                    <a:pt x="68" y="0"/>
                  </a:lnTo>
                  <a:lnTo>
                    <a:pt x="69" y="1"/>
                  </a:lnTo>
                  <a:lnTo>
                    <a:pt x="69" y="1"/>
                  </a:lnTo>
                  <a:lnTo>
                    <a:pt x="70" y="1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71" y="3"/>
                  </a:lnTo>
                  <a:lnTo>
                    <a:pt x="71" y="3"/>
                  </a:lnTo>
                  <a:lnTo>
                    <a:pt x="71" y="4"/>
                  </a:lnTo>
                </a:path>
              </a:pathLst>
            </a:custGeom>
            <a:grpFill/>
            <a:ln w="3175" cap="flat" cmpd="sng">
              <a:solidFill>
                <a:schemeClr val="accent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algn="ctr" defTabSz="781394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800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52" name="Freeform 14"/>
            <p:cNvSpPr>
              <a:spLocks/>
            </p:cNvSpPr>
            <p:nvPr/>
          </p:nvSpPr>
          <p:spPr bwMode="auto">
            <a:xfrm>
              <a:off x="4005206" y="1924312"/>
              <a:ext cx="867295" cy="1084572"/>
            </a:xfrm>
            <a:custGeom>
              <a:avLst/>
              <a:gdLst/>
              <a:ahLst/>
              <a:cxnLst>
                <a:cxn ang="0">
                  <a:pos x="111" y="79"/>
                </a:cxn>
                <a:cxn ang="0">
                  <a:pos x="102" y="88"/>
                </a:cxn>
                <a:cxn ang="0">
                  <a:pos x="98" y="95"/>
                </a:cxn>
                <a:cxn ang="0">
                  <a:pos x="99" y="104"/>
                </a:cxn>
                <a:cxn ang="0">
                  <a:pos x="107" y="113"/>
                </a:cxn>
                <a:cxn ang="0">
                  <a:pos x="109" y="121"/>
                </a:cxn>
                <a:cxn ang="0">
                  <a:pos x="105" y="126"/>
                </a:cxn>
                <a:cxn ang="0">
                  <a:pos x="96" y="128"/>
                </a:cxn>
                <a:cxn ang="0">
                  <a:pos x="91" y="118"/>
                </a:cxn>
                <a:cxn ang="0">
                  <a:pos x="82" y="112"/>
                </a:cxn>
                <a:cxn ang="0">
                  <a:pos x="74" y="113"/>
                </a:cxn>
                <a:cxn ang="0">
                  <a:pos x="69" y="120"/>
                </a:cxn>
                <a:cxn ang="0">
                  <a:pos x="64" y="126"/>
                </a:cxn>
                <a:cxn ang="0">
                  <a:pos x="50" y="128"/>
                </a:cxn>
                <a:cxn ang="0">
                  <a:pos x="45" y="133"/>
                </a:cxn>
                <a:cxn ang="0">
                  <a:pos x="43" y="135"/>
                </a:cxn>
                <a:cxn ang="0">
                  <a:pos x="41" y="130"/>
                </a:cxn>
                <a:cxn ang="0">
                  <a:pos x="40" y="126"/>
                </a:cxn>
                <a:cxn ang="0">
                  <a:pos x="34" y="122"/>
                </a:cxn>
                <a:cxn ang="0">
                  <a:pos x="21" y="119"/>
                </a:cxn>
                <a:cxn ang="0">
                  <a:pos x="19" y="113"/>
                </a:cxn>
                <a:cxn ang="0">
                  <a:pos x="18" y="108"/>
                </a:cxn>
                <a:cxn ang="0">
                  <a:pos x="15" y="106"/>
                </a:cxn>
                <a:cxn ang="0">
                  <a:pos x="14" y="102"/>
                </a:cxn>
                <a:cxn ang="0">
                  <a:pos x="11" y="98"/>
                </a:cxn>
                <a:cxn ang="0">
                  <a:pos x="14" y="96"/>
                </a:cxn>
                <a:cxn ang="0">
                  <a:pos x="14" y="89"/>
                </a:cxn>
                <a:cxn ang="0">
                  <a:pos x="16" y="82"/>
                </a:cxn>
                <a:cxn ang="0">
                  <a:pos x="18" y="73"/>
                </a:cxn>
                <a:cxn ang="0">
                  <a:pos x="16" y="64"/>
                </a:cxn>
                <a:cxn ang="0">
                  <a:pos x="12" y="59"/>
                </a:cxn>
                <a:cxn ang="0">
                  <a:pos x="6" y="56"/>
                </a:cxn>
                <a:cxn ang="0">
                  <a:pos x="5" y="55"/>
                </a:cxn>
                <a:cxn ang="0">
                  <a:pos x="4" y="50"/>
                </a:cxn>
                <a:cxn ang="0">
                  <a:pos x="0" y="48"/>
                </a:cxn>
                <a:cxn ang="0">
                  <a:pos x="1" y="43"/>
                </a:cxn>
                <a:cxn ang="0">
                  <a:pos x="3" y="38"/>
                </a:cxn>
                <a:cxn ang="0">
                  <a:pos x="2" y="35"/>
                </a:cxn>
                <a:cxn ang="0">
                  <a:pos x="4" y="32"/>
                </a:cxn>
                <a:cxn ang="0">
                  <a:pos x="10" y="30"/>
                </a:cxn>
                <a:cxn ang="0">
                  <a:pos x="14" y="32"/>
                </a:cxn>
                <a:cxn ang="0">
                  <a:pos x="18" y="30"/>
                </a:cxn>
                <a:cxn ang="0">
                  <a:pos x="24" y="24"/>
                </a:cxn>
                <a:cxn ang="0">
                  <a:pos x="33" y="19"/>
                </a:cxn>
                <a:cxn ang="0">
                  <a:pos x="36" y="13"/>
                </a:cxn>
                <a:cxn ang="0">
                  <a:pos x="44" y="10"/>
                </a:cxn>
                <a:cxn ang="0">
                  <a:pos x="48" y="4"/>
                </a:cxn>
                <a:cxn ang="0">
                  <a:pos x="54" y="3"/>
                </a:cxn>
                <a:cxn ang="0">
                  <a:pos x="59" y="0"/>
                </a:cxn>
                <a:cxn ang="0">
                  <a:pos x="61" y="6"/>
                </a:cxn>
                <a:cxn ang="0">
                  <a:pos x="58" y="10"/>
                </a:cxn>
                <a:cxn ang="0">
                  <a:pos x="55" y="13"/>
                </a:cxn>
                <a:cxn ang="0">
                  <a:pos x="60" y="17"/>
                </a:cxn>
                <a:cxn ang="0">
                  <a:pos x="70" y="22"/>
                </a:cxn>
                <a:cxn ang="0">
                  <a:pos x="77" y="26"/>
                </a:cxn>
                <a:cxn ang="0">
                  <a:pos x="101" y="54"/>
                </a:cxn>
              </a:cxnLst>
              <a:rect l="0" t="0" r="r" b="b"/>
              <a:pathLst>
                <a:path w="116" h="135">
                  <a:moveTo>
                    <a:pt x="116" y="77"/>
                  </a:moveTo>
                  <a:lnTo>
                    <a:pt x="115" y="77"/>
                  </a:lnTo>
                  <a:lnTo>
                    <a:pt x="115" y="76"/>
                  </a:lnTo>
                  <a:lnTo>
                    <a:pt x="114" y="76"/>
                  </a:lnTo>
                  <a:lnTo>
                    <a:pt x="113" y="77"/>
                  </a:lnTo>
                  <a:lnTo>
                    <a:pt x="112" y="78"/>
                  </a:lnTo>
                  <a:lnTo>
                    <a:pt x="111" y="79"/>
                  </a:lnTo>
                  <a:lnTo>
                    <a:pt x="109" y="80"/>
                  </a:lnTo>
                  <a:lnTo>
                    <a:pt x="108" y="81"/>
                  </a:lnTo>
                  <a:lnTo>
                    <a:pt x="106" y="83"/>
                  </a:lnTo>
                  <a:lnTo>
                    <a:pt x="105" y="84"/>
                  </a:lnTo>
                  <a:lnTo>
                    <a:pt x="104" y="85"/>
                  </a:lnTo>
                  <a:lnTo>
                    <a:pt x="103" y="87"/>
                  </a:lnTo>
                  <a:lnTo>
                    <a:pt x="102" y="88"/>
                  </a:lnTo>
                  <a:lnTo>
                    <a:pt x="101" y="89"/>
                  </a:lnTo>
                  <a:lnTo>
                    <a:pt x="100" y="91"/>
                  </a:lnTo>
                  <a:lnTo>
                    <a:pt x="99" y="92"/>
                  </a:lnTo>
                  <a:lnTo>
                    <a:pt x="99" y="93"/>
                  </a:lnTo>
                  <a:lnTo>
                    <a:pt x="99" y="94"/>
                  </a:lnTo>
                  <a:lnTo>
                    <a:pt x="98" y="94"/>
                  </a:lnTo>
                  <a:lnTo>
                    <a:pt x="98" y="95"/>
                  </a:lnTo>
                  <a:lnTo>
                    <a:pt x="98" y="97"/>
                  </a:lnTo>
                  <a:lnTo>
                    <a:pt x="98" y="98"/>
                  </a:lnTo>
                  <a:lnTo>
                    <a:pt x="98" y="99"/>
                  </a:lnTo>
                  <a:lnTo>
                    <a:pt x="98" y="100"/>
                  </a:lnTo>
                  <a:lnTo>
                    <a:pt x="98" y="101"/>
                  </a:lnTo>
                  <a:lnTo>
                    <a:pt x="99" y="103"/>
                  </a:lnTo>
                  <a:lnTo>
                    <a:pt x="99" y="104"/>
                  </a:lnTo>
                  <a:lnTo>
                    <a:pt x="100" y="105"/>
                  </a:lnTo>
                  <a:lnTo>
                    <a:pt x="101" y="106"/>
                  </a:lnTo>
                  <a:lnTo>
                    <a:pt x="103" y="107"/>
                  </a:lnTo>
                  <a:lnTo>
                    <a:pt x="105" y="109"/>
                  </a:lnTo>
                  <a:lnTo>
                    <a:pt x="106" y="110"/>
                  </a:lnTo>
                  <a:lnTo>
                    <a:pt x="107" y="111"/>
                  </a:lnTo>
                  <a:lnTo>
                    <a:pt x="107" y="113"/>
                  </a:lnTo>
                  <a:lnTo>
                    <a:pt x="108" y="114"/>
                  </a:lnTo>
                  <a:lnTo>
                    <a:pt x="109" y="115"/>
                  </a:lnTo>
                  <a:lnTo>
                    <a:pt x="109" y="116"/>
                  </a:lnTo>
                  <a:lnTo>
                    <a:pt x="110" y="118"/>
                  </a:lnTo>
                  <a:lnTo>
                    <a:pt x="110" y="119"/>
                  </a:lnTo>
                  <a:lnTo>
                    <a:pt x="110" y="120"/>
                  </a:lnTo>
                  <a:lnTo>
                    <a:pt x="109" y="121"/>
                  </a:lnTo>
                  <a:lnTo>
                    <a:pt x="109" y="122"/>
                  </a:lnTo>
                  <a:lnTo>
                    <a:pt x="108" y="123"/>
                  </a:lnTo>
                  <a:lnTo>
                    <a:pt x="108" y="124"/>
                  </a:lnTo>
                  <a:lnTo>
                    <a:pt x="107" y="124"/>
                  </a:lnTo>
                  <a:lnTo>
                    <a:pt x="106" y="125"/>
                  </a:lnTo>
                  <a:lnTo>
                    <a:pt x="105" y="126"/>
                  </a:lnTo>
                  <a:lnTo>
                    <a:pt x="105" y="126"/>
                  </a:lnTo>
                  <a:lnTo>
                    <a:pt x="104" y="127"/>
                  </a:lnTo>
                  <a:lnTo>
                    <a:pt x="103" y="127"/>
                  </a:lnTo>
                  <a:lnTo>
                    <a:pt x="102" y="128"/>
                  </a:lnTo>
                  <a:lnTo>
                    <a:pt x="100" y="128"/>
                  </a:lnTo>
                  <a:lnTo>
                    <a:pt x="99" y="128"/>
                  </a:lnTo>
                  <a:lnTo>
                    <a:pt x="98" y="128"/>
                  </a:lnTo>
                  <a:lnTo>
                    <a:pt x="96" y="128"/>
                  </a:lnTo>
                  <a:lnTo>
                    <a:pt x="95" y="128"/>
                  </a:lnTo>
                  <a:lnTo>
                    <a:pt x="94" y="126"/>
                  </a:lnTo>
                  <a:lnTo>
                    <a:pt x="94" y="125"/>
                  </a:lnTo>
                  <a:lnTo>
                    <a:pt x="93" y="123"/>
                  </a:lnTo>
                  <a:lnTo>
                    <a:pt x="93" y="121"/>
                  </a:lnTo>
                  <a:lnTo>
                    <a:pt x="92" y="120"/>
                  </a:lnTo>
                  <a:lnTo>
                    <a:pt x="91" y="118"/>
                  </a:lnTo>
                  <a:lnTo>
                    <a:pt x="90" y="117"/>
                  </a:lnTo>
                  <a:lnTo>
                    <a:pt x="89" y="116"/>
                  </a:lnTo>
                  <a:lnTo>
                    <a:pt x="88" y="115"/>
                  </a:lnTo>
                  <a:lnTo>
                    <a:pt x="87" y="114"/>
                  </a:lnTo>
                  <a:lnTo>
                    <a:pt x="85" y="113"/>
                  </a:lnTo>
                  <a:lnTo>
                    <a:pt x="84" y="113"/>
                  </a:lnTo>
                  <a:lnTo>
                    <a:pt x="82" y="112"/>
                  </a:lnTo>
                  <a:lnTo>
                    <a:pt x="80" y="112"/>
                  </a:lnTo>
                  <a:lnTo>
                    <a:pt x="78" y="112"/>
                  </a:lnTo>
                  <a:lnTo>
                    <a:pt x="76" y="111"/>
                  </a:lnTo>
                  <a:lnTo>
                    <a:pt x="76" y="112"/>
                  </a:lnTo>
                  <a:lnTo>
                    <a:pt x="75" y="112"/>
                  </a:lnTo>
                  <a:lnTo>
                    <a:pt x="75" y="112"/>
                  </a:lnTo>
                  <a:lnTo>
                    <a:pt x="74" y="113"/>
                  </a:lnTo>
                  <a:lnTo>
                    <a:pt x="73" y="113"/>
                  </a:lnTo>
                  <a:lnTo>
                    <a:pt x="72" y="114"/>
                  </a:lnTo>
                  <a:lnTo>
                    <a:pt x="71" y="115"/>
                  </a:lnTo>
                  <a:lnTo>
                    <a:pt x="71" y="116"/>
                  </a:lnTo>
                  <a:lnTo>
                    <a:pt x="70" y="118"/>
                  </a:lnTo>
                  <a:lnTo>
                    <a:pt x="70" y="119"/>
                  </a:lnTo>
                  <a:lnTo>
                    <a:pt x="69" y="120"/>
                  </a:lnTo>
                  <a:lnTo>
                    <a:pt x="68" y="121"/>
                  </a:lnTo>
                  <a:lnTo>
                    <a:pt x="68" y="122"/>
                  </a:lnTo>
                  <a:lnTo>
                    <a:pt x="67" y="123"/>
                  </a:lnTo>
                  <a:lnTo>
                    <a:pt x="66" y="124"/>
                  </a:lnTo>
                  <a:lnTo>
                    <a:pt x="65" y="125"/>
                  </a:lnTo>
                  <a:lnTo>
                    <a:pt x="64" y="126"/>
                  </a:lnTo>
                  <a:lnTo>
                    <a:pt x="64" y="126"/>
                  </a:lnTo>
                  <a:lnTo>
                    <a:pt x="63" y="126"/>
                  </a:lnTo>
                  <a:lnTo>
                    <a:pt x="53" y="126"/>
                  </a:lnTo>
                  <a:lnTo>
                    <a:pt x="53" y="126"/>
                  </a:lnTo>
                  <a:lnTo>
                    <a:pt x="52" y="127"/>
                  </a:lnTo>
                  <a:lnTo>
                    <a:pt x="52" y="127"/>
                  </a:lnTo>
                  <a:lnTo>
                    <a:pt x="51" y="127"/>
                  </a:lnTo>
                  <a:lnTo>
                    <a:pt x="50" y="128"/>
                  </a:lnTo>
                  <a:lnTo>
                    <a:pt x="50" y="128"/>
                  </a:lnTo>
                  <a:lnTo>
                    <a:pt x="49" y="129"/>
                  </a:lnTo>
                  <a:lnTo>
                    <a:pt x="48" y="130"/>
                  </a:lnTo>
                  <a:lnTo>
                    <a:pt x="47" y="131"/>
                  </a:lnTo>
                  <a:lnTo>
                    <a:pt x="47" y="132"/>
                  </a:lnTo>
                  <a:lnTo>
                    <a:pt x="46" y="133"/>
                  </a:lnTo>
                  <a:lnTo>
                    <a:pt x="45" y="133"/>
                  </a:lnTo>
                  <a:lnTo>
                    <a:pt x="44" y="134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3" y="135"/>
                  </a:lnTo>
                  <a:lnTo>
                    <a:pt x="43" y="135"/>
                  </a:lnTo>
                  <a:lnTo>
                    <a:pt x="43" y="135"/>
                  </a:lnTo>
                  <a:lnTo>
                    <a:pt x="43" y="135"/>
                  </a:lnTo>
                  <a:lnTo>
                    <a:pt x="42" y="135"/>
                  </a:lnTo>
                  <a:lnTo>
                    <a:pt x="42" y="135"/>
                  </a:lnTo>
                  <a:lnTo>
                    <a:pt x="42" y="135"/>
                  </a:lnTo>
                  <a:lnTo>
                    <a:pt x="41" y="135"/>
                  </a:lnTo>
                  <a:lnTo>
                    <a:pt x="41" y="133"/>
                  </a:lnTo>
                  <a:lnTo>
                    <a:pt x="41" y="131"/>
                  </a:lnTo>
                  <a:lnTo>
                    <a:pt x="41" y="130"/>
                  </a:lnTo>
                  <a:lnTo>
                    <a:pt x="41" y="128"/>
                  </a:lnTo>
                  <a:lnTo>
                    <a:pt x="42" y="128"/>
                  </a:lnTo>
                  <a:lnTo>
                    <a:pt x="41" y="127"/>
                  </a:lnTo>
                  <a:lnTo>
                    <a:pt x="41" y="127"/>
                  </a:lnTo>
                  <a:lnTo>
                    <a:pt x="41" y="127"/>
                  </a:lnTo>
                  <a:lnTo>
                    <a:pt x="41" y="127"/>
                  </a:lnTo>
                  <a:lnTo>
                    <a:pt x="40" y="126"/>
                  </a:lnTo>
                  <a:lnTo>
                    <a:pt x="40" y="126"/>
                  </a:lnTo>
                  <a:lnTo>
                    <a:pt x="40" y="126"/>
                  </a:lnTo>
                  <a:lnTo>
                    <a:pt x="39" y="125"/>
                  </a:lnTo>
                  <a:lnTo>
                    <a:pt x="38" y="125"/>
                  </a:lnTo>
                  <a:lnTo>
                    <a:pt x="37" y="124"/>
                  </a:lnTo>
                  <a:lnTo>
                    <a:pt x="35" y="123"/>
                  </a:lnTo>
                  <a:lnTo>
                    <a:pt x="34" y="122"/>
                  </a:lnTo>
                  <a:lnTo>
                    <a:pt x="33" y="122"/>
                  </a:lnTo>
                  <a:lnTo>
                    <a:pt x="32" y="121"/>
                  </a:lnTo>
                  <a:lnTo>
                    <a:pt x="30" y="121"/>
                  </a:lnTo>
                  <a:lnTo>
                    <a:pt x="29" y="120"/>
                  </a:lnTo>
                  <a:lnTo>
                    <a:pt x="27" y="120"/>
                  </a:lnTo>
                  <a:lnTo>
                    <a:pt x="24" y="119"/>
                  </a:lnTo>
                  <a:lnTo>
                    <a:pt x="21" y="119"/>
                  </a:lnTo>
                  <a:lnTo>
                    <a:pt x="18" y="118"/>
                  </a:lnTo>
                  <a:lnTo>
                    <a:pt x="18" y="117"/>
                  </a:lnTo>
                  <a:lnTo>
                    <a:pt x="19" y="116"/>
                  </a:lnTo>
                  <a:lnTo>
                    <a:pt x="19" y="115"/>
                  </a:lnTo>
                  <a:lnTo>
                    <a:pt x="19" y="115"/>
                  </a:lnTo>
                  <a:lnTo>
                    <a:pt x="19" y="114"/>
                  </a:lnTo>
                  <a:lnTo>
                    <a:pt x="19" y="113"/>
                  </a:lnTo>
                  <a:lnTo>
                    <a:pt x="19" y="112"/>
                  </a:lnTo>
                  <a:lnTo>
                    <a:pt x="19" y="112"/>
                  </a:lnTo>
                  <a:lnTo>
                    <a:pt x="19" y="111"/>
                  </a:lnTo>
                  <a:lnTo>
                    <a:pt x="19" y="110"/>
                  </a:lnTo>
                  <a:lnTo>
                    <a:pt x="19" y="109"/>
                  </a:lnTo>
                  <a:lnTo>
                    <a:pt x="18" y="109"/>
                  </a:lnTo>
                  <a:lnTo>
                    <a:pt x="18" y="108"/>
                  </a:lnTo>
                  <a:lnTo>
                    <a:pt x="17" y="108"/>
                  </a:lnTo>
                  <a:lnTo>
                    <a:pt x="17" y="107"/>
                  </a:lnTo>
                  <a:lnTo>
                    <a:pt x="16" y="106"/>
                  </a:lnTo>
                  <a:lnTo>
                    <a:pt x="16" y="106"/>
                  </a:lnTo>
                  <a:lnTo>
                    <a:pt x="15" y="106"/>
                  </a:lnTo>
                  <a:lnTo>
                    <a:pt x="15" y="106"/>
                  </a:lnTo>
                  <a:lnTo>
                    <a:pt x="15" y="106"/>
                  </a:lnTo>
                  <a:lnTo>
                    <a:pt x="15" y="105"/>
                  </a:lnTo>
                  <a:lnTo>
                    <a:pt x="15" y="105"/>
                  </a:lnTo>
                  <a:lnTo>
                    <a:pt x="15" y="104"/>
                  </a:lnTo>
                  <a:lnTo>
                    <a:pt x="15" y="103"/>
                  </a:lnTo>
                  <a:lnTo>
                    <a:pt x="15" y="103"/>
                  </a:lnTo>
                  <a:lnTo>
                    <a:pt x="14" y="102"/>
                  </a:lnTo>
                  <a:lnTo>
                    <a:pt x="14" y="102"/>
                  </a:lnTo>
                  <a:lnTo>
                    <a:pt x="14" y="102"/>
                  </a:lnTo>
                  <a:lnTo>
                    <a:pt x="13" y="101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1" y="98"/>
                  </a:lnTo>
                  <a:lnTo>
                    <a:pt x="12" y="98"/>
                  </a:lnTo>
                  <a:lnTo>
                    <a:pt x="12" y="98"/>
                  </a:lnTo>
                  <a:lnTo>
                    <a:pt x="13" y="98"/>
                  </a:lnTo>
                  <a:lnTo>
                    <a:pt x="13" y="97"/>
                  </a:lnTo>
                  <a:lnTo>
                    <a:pt x="14" y="97"/>
                  </a:lnTo>
                  <a:lnTo>
                    <a:pt x="14" y="96"/>
                  </a:lnTo>
                  <a:lnTo>
                    <a:pt x="14" y="96"/>
                  </a:lnTo>
                  <a:lnTo>
                    <a:pt x="14" y="95"/>
                  </a:lnTo>
                  <a:lnTo>
                    <a:pt x="15" y="94"/>
                  </a:lnTo>
                  <a:lnTo>
                    <a:pt x="15" y="94"/>
                  </a:lnTo>
                  <a:lnTo>
                    <a:pt x="15" y="93"/>
                  </a:lnTo>
                  <a:lnTo>
                    <a:pt x="14" y="92"/>
                  </a:lnTo>
                  <a:lnTo>
                    <a:pt x="14" y="90"/>
                  </a:lnTo>
                  <a:lnTo>
                    <a:pt x="14" y="89"/>
                  </a:lnTo>
                  <a:lnTo>
                    <a:pt x="14" y="88"/>
                  </a:lnTo>
                  <a:lnTo>
                    <a:pt x="14" y="87"/>
                  </a:lnTo>
                  <a:lnTo>
                    <a:pt x="15" y="87"/>
                  </a:lnTo>
                  <a:lnTo>
                    <a:pt x="15" y="85"/>
                  </a:lnTo>
                  <a:lnTo>
                    <a:pt x="15" y="84"/>
                  </a:lnTo>
                  <a:lnTo>
                    <a:pt x="16" y="83"/>
                  </a:lnTo>
                  <a:lnTo>
                    <a:pt x="16" y="82"/>
                  </a:lnTo>
                  <a:lnTo>
                    <a:pt x="16" y="81"/>
                  </a:lnTo>
                  <a:lnTo>
                    <a:pt x="17" y="80"/>
                  </a:lnTo>
                  <a:lnTo>
                    <a:pt x="17" y="79"/>
                  </a:lnTo>
                  <a:lnTo>
                    <a:pt x="18" y="78"/>
                  </a:lnTo>
                  <a:lnTo>
                    <a:pt x="18" y="76"/>
                  </a:lnTo>
                  <a:lnTo>
                    <a:pt x="18" y="75"/>
                  </a:lnTo>
                  <a:lnTo>
                    <a:pt x="18" y="73"/>
                  </a:lnTo>
                  <a:lnTo>
                    <a:pt x="18" y="72"/>
                  </a:lnTo>
                  <a:lnTo>
                    <a:pt x="19" y="70"/>
                  </a:lnTo>
                  <a:lnTo>
                    <a:pt x="18" y="68"/>
                  </a:lnTo>
                  <a:lnTo>
                    <a:pt x="18" y="67"/>
                  </a:lnTo>
                  <a:lnTo>
                    <a:pt x="18" y="65"/>
                  </a:lnTo>
                  <a:lnTo>
                    <a:pt x="17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5" y="63"/>
                  </a:lnTo>
                  <a:lnTo>
                    <a:pt x="14" y="62"/>
                  </a:lnTo>
                  <a:lnTo>
                    <a:pt x="14" y="61"/>
                  </a:lnTo>
                  <a:lnTo>
                    <a:pt x="13" y="60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1" y="58"/>
                  </a:lnTo>
                  <a:lnTo>
                    <a:pt x="10" y="58"/>
                  </a:lnTo>
                  <a:lnTo>
                    <a:pt x="9" y="57"/>
                  </a:lnTo>
                  <a:lnTo>
                    <a:pt x="9" y="57"/>
                  </a:lnTo>
                  <a:lnTo>
                    <a:pt x="7" y="57"/>
                  </a:lnTo>
                  <a:lnTo>
                    <a:pt x="6" y="56"/>
                  </a:lnTo>
                  <a:lnTo>
                    <a:pt x="6" y="56"/>
                  </a:lnTo>
                  <a:lnTo>
                    <a:pt x="6" y="56"/>
                  </a:lnTo>
                  <a:lnTo>
                    <a:pt x="6" y="55"/>
                  </a:lnTo>
                  <a:lnTo>
                    <a:pt x="6" y="55"/>
                  </a:lnTo>
                  <a:lnTo>
                    <a:pt x="6" y="55"/>
                  </a:lnTo>
                  <a:lnTo>
                    <a:pt x="5" y="55"/>
                  </a:lnTo>
                  <a:lnTo>
                    <a:pt x="5" y="55"/>
                  </a:lnTo>
                  <a:lnTo>
                    <a:pt x="5" y="55"/>
                  </a:lnTo>
                  <a:lnTo>
                    <a:pt x="5" y="54"/>
                  </a:lnTo>
                  <a:lnTo>
                    <a:pt x="5" y="53"/>
                  </a:lnTo>
                  <a:lnTo>
                    <a:pt x="5" y="52"/>
                  </a:lnTo>
                  <a:lnTo>
                    <a:pt x="5" y="52"/>
                  </a:lnTo>
                  <a:lnTo>
                    <a:pt x="5" y="51"/>
                  </a:lnTo>
                  <a:lnTo>
                    <a:pt x="4" y="51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3" y="50"/>
                  </a:lnTo>
                  <a:lnTo>
                    <a:pt x="3" y="49"/>
                  </a:lnTo>
                  <a:lnTo>
                    <a:pt x="2" y="49"/>
                  </a:lnTo>
                  <a:lnTo>
                    <a:pt x="1" y="49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7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45"/>
                  </a:lnTo>
                  <a:lnTo>
                    <a:pt x="0" y="44"/>
                  </a:lnTo>
                  <a:lnTo>
                    <a:pt x="1" y="43"/>
                  </a:lnTo>
                  <a:lnTo>
                    <a:pt x="1" y="43"/>
                  </a:lnTo>
                  <a:lnTo>
                    <a:pt x="1" y="42"/>
                  </a:lnTo>
                  <a:lnTo>
                    <a:pt x="2" y="41"/>
                  </a:lnTo>
                  <a:lnTo>
                    <a:pt x="2" y="41"/>
                  </a:lnTo>
                  <a:lnTo>
                    <a:pt x="3" y="40"/>
                  </a:lnTo>
                  <a:lnTo>
                    <a:pt x="3" y="39"/>
                  </a:lnTo>
                  <a:lnTo>
                    <a:pt x="3" y="39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5"/>
                  </a:lnTo>
                  <a:lnTo>
                    <a:pt x="1" y="35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3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2"/>
                  </a:lnTo>
                  <a:lnTo>
                    <a:pt x="5" y="32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7" y="31"/>
                  </a:lnTo>
                  <a:lnTo>
                    <a:pt x="8" y="30"/>
                  </a:lnTo>
                  <a:lnTo>
                    <a:pt x="9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1" y="30"/>
                  </a:lnTo>
                  <a:lnTo>
                    <a:pt x="12" y="30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4" y="31"/>
                  </a:lnTo>
                  <a:lnTo>
                    <a:pt x="14" y="32"/>
                  </a:lnTo>
                  <a:lnTo>
                    <a:pt x="15" y="32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7" y="32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8" y="30"/>
                  </a:lnTo>
                  <a:lnTo>
                    <a:pt x="18" y="29"/>
                  </a:lnTo>
                  <a:lnTo>
                    <a:pt x="19" y="29"/>
                  </a:lnTo>
                  <a:lnTo>
                    <a:pt x="20" y="28"/>
                  </a:lnTo>
                  <a:lnTo>
                    <a:pt x="20" y="27"/>
                  </a:lnTo>
                  <a:lnTo>
                    <a:pt x="21" y="26"/>
                  </a:lnTo>
                  <a:lnTo>
                    <a:pt x="23" y="25"/>
                  </a:lnTo>
                  <a:lnTo>
                    <a:pt x="24" y="24"/>
                  </a:lnTo>
                  <a:lnTo>
                    <a:pt x="26" y="24"/>
                  </a:lnTo>
                  <a:lnTo>
                    <a:pt x="27" y="23"/>
                  </a:lnTo>
                  <a:lnTo>
                    <a:pt x="29" y="22"/>
                  </a:lnTo>
                  <a:lnTo>
                    <a:pt x="30" y="21"/>
                  </a:lnTo>
                  <a:lnTo>
                    <a:pt x="32" y="20"/>
                  </a:lnTo>
                  <a:lnTo>
                    <a:pt x="32" y="19"/>
                  </a:lnTo>
                  <a:lnTo>
                    <a:pt x="33" y="19"/>
                  </a:lnTo>
                  <a:lnTo>
                    <a:pt x="33" y="18"/>
                  </a:lnTo>
                  <a:lnTo>
                    <a:pt x="34" y="17"/>
                  </a:lnTo>
                  <a:lnTo>
                    <a:pt x="34" y="16"/>
                  </a:lnTo>
                  <a:lnTo>
                    <a:pt x="34" y="15"/>
                  </a:lnTo>
                  <a:lnTo>
                    <a:pt x="35" y="14"/>
                  </a:lnTo>
                  <a:lnTo>
                    <a:pt x="35" y="13"/>
                  </a:lnTo>
                  <a:lnTo>
                    <a:pt x="36" y="13"/>
                  </a:lnTo>
                  <a:lnTo>
                    <a:pt x="37" y="13"/>
                  </a:lnTo>
                  <a:lnTo>
                    <a:pt x="38" y="13"/>
                  </a:lnTo>
                  <a:lnTo>
                    <a:pt x="40" y="12"/>
                  </a:lnTo>
                  <a:lnTo>
                    <a:pt x="41" y="12"/>
                  </a:lnTo>
                  <a:lnTo>
                    <a:pt x="42" y="11"/>
                  </a:lnTo>
                  <a:lnTo>
                    <a:pt x="43" y="11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5" y="9"/>
                  </a:lnTo>
                  <a:lnTo>
                    <a:pt x="46" y="8"/>
                  </a:lnTo>
                  <a:lnTo>
                    <a:pt x="46" y="7"/>
                  </a:lnTo>
                  <a:lnTo>
                    <a:pt x="47" y="6"/>
                  </a:lnTo>
                  <a:lnTo>
                    <a:pt x="47" y="5"/>
                  </a:lnTo>
                  <a:lnTo>
                    <a:pt x="48" y="4"/>
                  </a:lnTo>
                  <a:lnTo>
                    <a:pt x="48" y="3"/>
                  </a:lnTo>
                  <a:lnTo>
                    <a:pt x="49" y="3"/>
                  </a:lnTo>
                  <a:lnTo>
                    <a:pt x="50" y="3"/>
                  </a:lnTo>
                  <a:lnTo>
                    <a:pt x="51" y="3"/>
                  </a:lnTo>
                  <a:lnTo>
                    <a:pt x="52" y="3"/>
                  </a:lnTo>
                  <a:lnTo>
                    <a:pt x="53" y="3"/>
                  </a:lnTo>
                  <a:lnTo>
                    <a:pt x="54" y="3"/>
                  </a:lnTo>
                  <a:lnTo>
                    <a:pt x="55" y="2"/>
                  </a:lnTo>
                  <a:lnTo>
                    <a:pt x="55" y="2"/>
                  </a:lnTo>
                  <a:lnTo>
                    <a:pt x="57" y="1"/>
                  </a:lnTo>
                  <a:lnTo>
                    <a:pt x="57" y="1"/>
                  </a:lnTo>
                  <a:lnTo>
                    <a:pt x="58" y="1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60" y="0"/>
                  </a:lnTo>
                  <a:lnTo>
                    <a:pt x="61" y="0"/>
                  </a:lnTo>
                  <a:lnTo>
                    <a:pt x="61" y="2"/>
                  </a:lnTo>
                  <a:lnTo>
                    <a:pt x="61" y="3"/>
                  </a:lnTo>
                  <a:lnTo>
                    <a:pt x="61" y="4"/>
                  </a:lnTo>
                  <a:lnTo>
                    <a:pt x="61" y="5"/>
                  </a:lnTo>
                  <a:lnTo>
                    <a:pt x="61" y="6"/>
                  </a:lnTo>
                  <a:lnTo>
                    <a:pt x="61" y="7"/>
                  </a:lnTo>
                  <a:lnTo>
                    <a:pt x="61" y="8"/>
                  </a:lnTo>
                  <a:lnTo>
                    <a:pt x="60" y="8"/>
                  </a:lnTo>
                  <a:lnTo>
                    <a:pt x="60" y="9"/>
                  </a:lnTo>
                  <a:lnTo>
                    <a:pt x="59" y="9"/>
                  </a:lnTo>
                  <a:lnTo>
                    <a:pt x="59" y="10"/>
                  </a:lnTo>
                  <a:lnTo>
                    <a:pt x="58" y="10"/>
                  </a:lnTo>
                  <a:lnTo>
                    <a:pt x="57" y="10"/>
                  </a:lnTo>
                  <a:lnTo>
                    <a:pt x="56" y="10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5" y="11"/>
                  </a:lnTo>
                  <a:lnTo>
                    <a:pt x="55" y="12"/>
                  </a:lnTo>
                  <a:lnTo>
                    <a:pt x="55" y="13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7" y="15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9" y="17"/>
                  </a:lnTo>
                  <a:lnTo>
                    <a:pt x="60" y="17"/>
                  </a:lnTo>
                  <a:lnTo>
                    <a:pt x="61" y="18"/>
                  </a:lnTo>
                  <a:lnTo>
                    <a:pt x="63" y="19"/>
                  </a:lnTo>
                  <a:lnTo>
                    <a:pt x="65" y="20"/>
                  </a:lnTo>
                  <a:lnTo>
                    <a:pt x="66" y="20"/>
                  </a:lnTo>
                  <a:lnTo>
                    <a:pt x="66" y="21"/>
                  </a:lnTo>
                  <a:lnTo>
                    <a:pt x="68" y="21"/>
                  </a:lnTo>
                  <a:lnTo>
                    <a:pt x="70" y="22"/>
                  </a:lnTo>
                  <a:lnTo>
                    <a:pt x="71" y="23"/>
                  </a:lnTo>
                  <a:lnTo>
                    <a:pt x="72" y="24"/>
                  </a:lnTo>
                  <a:lnTo>
                    <a:pt x="73" y="25"/>
                  </a:lnTo>
                  <a:lnTo>
                    <a:pt x="74" y="25"/>
                  </a:lnTo>
                  <a:lnTo>
                    <a:pt x="75" y="26"/>
                  </a:lnTo>
                  <a:lnTo>
                    <a:pt x="76" y="26"/>
                  </a:lnTo>
                  <a:lnTo>
                    <a:pt x="77" y="26"/>
                  </a:lnTo>
                  <a:lnTo>
                    <a:pt x="78" y="26"/>
                  </a:lnTo>
                  <a:lnTo>
                    <a:pt x="82" y="31"/>
                  </a:lnTo>
                  <a:lnTo>
                    <a:pt x="86" y="35"/>
                  </a:lnTo>
                  <a:lnTo>
                    <a:pt x="90" y="40"/>
                  </a:lnTo>
                  <a:lnTo>
                    <a:pt x="93" y="44"/>
                  </a:lnTo>
                  <a:lnTo>
                    <a:pt x="97" y="49"/>
                  </a:lnTo>
                  <a:lnTo>
                    <a:pt x="101" y="54"/>
                  </a:lnTo>
                  <a:lnTo>
                    <a:pt x="104" y="58"/>
                  </a:lnTo>
                  <a:lnTo>
                    <a:pt x="108" y="63"/>
                  </a:lnTo>
                  <a:lnTo>
                    <a:pt x="115" y="73"/>
                  </a:lnTo>
                  <a:lnTo>
                    <a:pt x="116" y="77"/>
                  </a:lnTo>
                </a:path>
              </a:pathLst>
            </a:custGeom>
            <a:grpFill/>
            <a:ln w="3175" cap="flat" cmpd="sng">
              <a:solidFill>
                <a:schemeClr val="accent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algn="ctr" defTabSz="781394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800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53" name="Freeform 15"/>
            <p:cNvSpPr>
              <a:spLocks/>
            </p:cNvSpPr>
            <p:nvPr/>
          </p:nvSpPr>
          <p:spPr bwMode="auto">
            <a:xfrm>
              <a:off x="3006011" y="1780710"/>
              <a:ext cx="1040754" cy="723678"/>
            </a:xfrm>
            <a:custGeom>
              <a:avLst/>
              <a:gdLst/>
              <a:ahLst/>
              <a:cxnLst>
                <a:cxn ang="0">
                  <a:pos x="134" y="44"/>
                </a:cxn>
                <a:cxn ang="0">
                  <a:pos x="132" y="48"/>
                </a:cxn>
                <a:cxn ang="0">
                  <a:pos x="131" y="53"/>
                </a:cxn>
                <a:cxn ang="0">
                  <a:pos x="136" y="54"/>
                </a:cxn>
                <a:cxn ang="0">
                  <a:pos x="135" y="60"/>
                </a:cxn>
                <a:cxn ang="0">
                  <a:pos x="137" y="67"/>
                </a:cxn>
                <a:cxn ang="0">
                  <a:pos x="139" y="74"/>
                </a:cxn>
                <a:cxn ang="0">
                  <a:pos x="128" y="71"/>
                </a:cxn>
                <a:cxn ang="0">
                  <a:pos x="123" y="67"/>
                </a:cxn>
                <a:cxn ang="0">
                  <a:pos x="114" y="68"/>
                </a:cxn>
                <a:cxn ang="0">
                  <a:pos x="106" y="65"/>
                </a:cxn>
                <a:cxn ang="0">
                  <a:pos x="94" y="59"/>
                </a:cxn>
                <a:cxn ang="0">
                  <a:pos x="76" y="56"/>
                </a:cxn>
                <a:cxn ang="0">
                  <a:pos x="65" y="49"/>
                </a:cxn>
                <a:cxn ang="0">
                  <a:pos x="59" y="51"/>
                </a:cxn>
                <a:cxn ang="0">
                  <a:pos x="44" y="54"/>
                </a:cxn>
                <a:cxn ang="0">
                  <a:pos x="41" y="60"/>
                </a:cxn>
                <a:cxn ang="0">
                  <a:pos x="42" y="65"/>
                </a:cxn>
                <a:cxn ang="0">
                  <a:pos x="45" y="73"/>
                </a:cxn>
                <a:cxn ang="0">
                  <a:pos x="31" y="85"/>
                </a:cxn>
                <a:cxn ang="0">
                  <a:pos x="23" y="85"/>
                </a:cxn>
                <a:cxn ang="0">
                  <a:pos x="14" y="89"/>
                </a:cxn>
                <a:cxn ang="0">
                  <a:pos x="2" y="89"/>
                </a:cxn>
                <a:cxn ang="0">
                  <a:pos x="1" y="72"/>
                </a:cxn>
                <a:cxn ang="0">
                  <a:pos x="7" y="68"/>
                </a:cxn>
                <a:cxn ang="0">
                  <a:pos x="7" y="59"/>
                </a:cxn>
                <a:cxn ang="0">
                  <a:pos x="6" y="55"/>
                </a:cxn>
                <a:cxn ang="0">
                  <a:pos x="6" y="50"/>
                </a:cxn>
                <a:cxn ang="0">
                  <a:pos x="5" y="44"/>
                </a:cxn>
                <a:cxn ang="0">
                  <a:pos x="7" y="39"/>
                </a:cxn>
                <a:cxn ang="0">
                  <a:pos x="5" y="29"/>
                </a:cxn>
                <a:cxn ang="0">
                  <a:pos x="10" y="23"/>
                </a:cxn>
                <a:cxn ang="0">
                  <a:pos x="15" y="21"/>
                </a:cxn>
                <a:cxn ang="0">
                  <a:pos x="20" y="18"/>
                </a:cxn>
                <a:cxn ang="0">
                  <a:pos x="24" y="17"/>
                </a:cxn>
                <a:cxn ang="0">
                  <a:pos x="30" y="15"/>
                </a:cxn>
                <a:cxn ang="0">
                  <a:pos x="37" y="13"/>
                </a:cxn>
                <a:cxn ang="0">
                  <a:pos x="42" y="8"/>
                </a:cxn>
                <a:cxn ang="0">
                  <a:pos x="48" y="3"/>
                </a:cxn>
                <a:cxn ang="0">
                  <a:pos x="53" y="0"/>
                </a:cxn>
                <a:cxn ang="0">
                  <a:pos x="57" y="1"/>
                </a:cxn>
                <a:cxn ang="0">
                  <a:pos x="62" y="3"/>
                </a:cxn>
                <a:cxn ang="0">
                  <a:pos x="70" y="6"/>
                </a:cxn>
                <a:cxn ang="0">
                  <a:pos x="73" y="7"/>
                </a:cxn>
                <a:cxn ang="0">
                  <a:pos x="78" y="3"/>
                </a:cxn>
                <a:cxn ang="0">
                  <a:pos x="82" y="1"/>
                </a:cxn>
                <a:cxn ang="0">
                  <a:pos x="85" y="5"/>
                </a:cxn>
                <a:cxn ang="0">
                  <a:pos x="86" y="12"/>
                </a:cxn>
                <a:cxn ang="0">
                  <a:pos x="89" y="19"/>
                </a:cxn>
                <a:cxn ang="0">
                  <a:pos x="88" y="30"/>
                </a:cxn>
                <a:cxn ang="0">
                  <a:pos x="92" y="37"/>
                </a:cxn>
                <a:cxn ang="0">
                  <a:pos x="103" y="36"/>
                </a:cxn>
                <a:cxn ang="0">
                  <a:pos x="107" y="33"/>
                </a:cxn>
                <a:cxn ang="0">
                  <a:pos x="110" y="31"/>
                </a:cxn>
                <a:cxn ang="0">
                  <a:pos x="114" y="41"/>
                </a:cxn>
                <a:cxn ang="0">
                  <a:pos x="119" y="42"/>
                </a:cxn>
                <a:cxn ang="0">
                  <a:pos x="121" y="38"/>
                </a:cxn>
                <a:cxn ang="0">
                  <a:pos x="127" y="38"/>
                </a:cxn>
                <a:cxn ang="0">
                  <a:pos x="131" y="41"/>
                </a:cxn>
                <a:cxn ang="0">
                  <a:pos x="135" y="40"/>
                </a:cxn>
                <a:cxn ang="0">
                  <a:pos x="139" y="39"/>
                </a:cxn>
              </a:cxnLst>
              <a:rect l="0" t="0" r="r" b="b"/>
              <a:pathLst>
                <a:path w="139" h="90">
                  <a:moveTo>
                    <a:pt x="139" y="40"/>
                  </a:moveTo>
                  <a:lnTo>
                    <a:pt x="139" y="40"/>
                  </a:lnTo>
                  <a:lnTo>
                    <a:pt x="139" y="40"/>
                  </a:lnTo>
                  <a:lnTo>
                    <a:pt x="139" y="41"/>
                  </a:lnTo>
                  <a:lnTo>
                    <a:pt x="139" y="41"/>
                  </a:lnTo>
                  <a:lnTo>
                    <a:pt x="138" y="41"/>
                  </a:lnTo>
                  <a:lnTo>
                    <a:pt x="137" y="41"/>
                  </a:lnTo>
                  <a:lnTo>
                    <a:pt x="136" y="42"/>
                  </a:lnTo>
                  <a:lnTo>
                    <a:pt x="135" y="42"/>
                  </a:lnTo>
                  <a:lnTo>
                    <a:pt x="135" y="43"/>
                  </a:lnTo>
                  <a:lnTo>
                    <a:pt x="134" y="43"/>
                  </a:lnTo>
                  <a:lnTo>
                    <a:pt x="134" y="44"/>
                  </a:lnTo>
                  <a:lnTo>
                    <a:pt x="134" y="44"/>
                  </a:lnTo>
                  <a:lnTo>
                    <a:pt x="133" y="44"/>
                  </a:lnTo>
                  <a:lnTo>
                    <a:pt x="133" y="44"/>
                  </a:lnTo>
                  <a:lnTo>
                    <a:pt x="133" y="45"/>
                  </a:lnTo>
                  <a:lnTo>
                    <a:pt x="132" y="45"/>
                  </a:lnTo>
                  <a:lnTo>
                    <a:pt x="132" y="45"/>
                  </a:lnTo>
                  <a:lnTo>
                    <a:pt x="132" y="46"/>
                  </a:lnTo>
                  <a:lnTo>
                    <a:pt x="132" y="46"/>
                  </a:lnTo>
                  <a:lnTo>
                    <a:pt x="132" y="47"/>
                  </a:lnTo>
                  <a:lnTo>
                    <a:pt x="132" y="47"/>
                  </a:lnTo>
                  <a:lnTo>
                    <a:pt x="132" y="48"/>
                  </a:lnTo>
                  <a:lnTo>
                    <a:pt x="132" y="48"/>
                  </a:lnTo>
                  <a:lnTo>
                    <a:pt x="132" y="48"/>
                  </a:lnTo>
                  <a:lnTo>
                    <a:pt x="131" y="48"/>
                  </a:lnTo>
                  <a:lnTo>
                    <a:pt x="131" y="48"/>
                  </a:lnTo>
                  <a:lnTo>
                    <a:pt x="131" y="48"/>
                  </a:lnTo>
                  <a:lnTo>
                    <a:pt x="131" y="49"/>
                  </a:lnTo>
                  <a:lnTo>
                    <a:pt x="130" y="49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1" y="51"/>
                  </a:lnTo>
                  <a:lnTo>
                    <a:pt x="131" y="52"/>
                  </a:lnTo>
                  <a:lnTo>
                    <a:pt x="131" y="52"/>
                  </a:lnTo>
                  <a:lnTo>
                    <a:pt x="131" y="53"/>
                  </a:lnTo>
                  <a:lnTo>
                    <a:pt x="132" y="53"/>
                  </a:lnTo>
                  <a:lnTo>
                    <a:pt x="132" y="53"/>
                  </a:lnTo>
                  <a:lnTo>
                    <a:pt x="132" y="53"/>
                  </a:lnTo>
                  <a:lnTo>
                    <a:pt x="133" y="53"/>
                  </a:lnTo>
                  <a:lnTo>
                    <a:pt x="133" y="53"/>
                  </a:lnTo>
                  <a:lnTo>
                    <a:pt x="134" y="53"/>
                  </a:lnTo>
                  <a:lnTo>
                    <a:pt x="134" y="53"/>
                  </a:lnTo>
                  <a:lnTo>
                    <a:pt x="135" y="53"/>
                  </a:lnTo>
                  <a:lnTo>
                    <a:pt x="135" y="53"/>
                  </a:lnTo>
                  <a:lnTo>
                    <a:pt x="135" y="53"/>
                  </a:lnTo>
                  <a:lnTo>
                    <a:pt x="136" y="53"/>
                  </a:lnTo>
                  <a:lnTo>
                    <a:pt x="136" y="54"/>
                  </a:lnTo>
                  <a:lnTo>
                    <a:pt x="136" y="54"/>
                  </a:lnTo>
                  <a:lnTo>
                    <a:pt x="137" y="55"/>
                  </a:lnTo>
                  <a:lnTo>
                    <a:pt x="137" y="55"/>
                  </a:lnTo>
                  <a:lnTo>
                    <a:pt x="137" y="55"/>
                  </a:lnTo>
                  <a:lnTo>
                    <a:pt x="137" y="56"/>
                  </a:lnTo>
                  <a:lnTo>
                    <a:pt x="137" y="56"/>
                  </a:lnTo>
                  <a:lnTo>
                    <a:pt x="137" y="57"/>
                  </a:lnTo>
                  <a:lnTo>
                    <a:pt x="137" y="57"/>
                  </a:lnTo>
                  <a:lnTo>
                    <a:pt x="137" y="58"/>
                  </a:lnTo>
                  <a:lnTo>
                    <a:pt x="136" y="59"/>
                  </a:lnTo>
                  <a:lnTo>
                    <a:pt x="136" y="59"/>
                  </a:lnTo>
                  <a:lnTo>
                    <a:pt x="135" y="60"/>
                  </a:lnTo>
                  <a:lnTo>
                    <a:pt x="135" y="61"/>
                  </a:lnTo>
                  <a:lnTo>
                    <a:pt x="135" y="61"/>
                  </a:lnTo>
                  <a:lnTo>
                    <a:pt x="134" y="62"/>
                  </a:lnTo>
                  <a:lnTo>
                    <a:pt x="134" y="63"/>
                  </a:lnTo>
                  <a:lnTo>
                    <a:pt x="134" y="64"/>
                  </a:lnTo>
                  <a:lnTo>
                    <a:pt x="134" y="64"/>
                  </a:lnTo>
                  <a:lnTo>
                    <a:pt x="134" y="65"/>
                  </a:lnTo>
                  <a:lnTo>
                    <a:pt x="134" y="66"/>
                  </a:lnTo>
                  <a:lnTo>
                    <a:pt x="134" y="66"/>
                  </a:lnTo>
                  <a:lnTo>
                    <a:pt x="135" y="67"/>
                  </a:lnTo>
                  <a:lnTo>
                    <a:pt x="136" y="67"/>
                  </a:lnTo>
                  <a:lnTo>
                    <a:pt x="137" y="67"/>
                  </a:lnTo>
                  <a:lnTo>
                    <a:pt x="137" y="68"/>
                  </a:lnTo>
                  <a:lnTo>
                    <a:pt x="138" y="68"/>
                  </a:lnTo>
                  <a:lnTo>
                    <a:pt x="138" y="68"/>
                  </a:lnTo>
                  <a:lnTo>
                    <a:pt x="138" y="69"/>
                  </a:lnTo>
                  <a:lnTo>
                    <a:pt x="139" y="69"/>
                  </a:lnTo>
                  <a:lnTo>
                    <a:pt x="139" y="70"/>
                  </a:lnTo>
                  <a:lnTo>
                    <a:pt x="139" y="70"/>
                  </a:lnTo>
                  <a:lnTo>
                    <a:pt x="139" y="71"/>
                  </a:lnTo>
                  <a:lnTo>
                    <a:pt x="139" y="72"/>
                  </a:lnTo>
                  <a:lnTo>
                    <a:pt x="139" y="73"/>
                  </a:lnTo>
                  <a:lnTo>
                    <a:pt x="139" y="73"/>
                  </a:lnTo>
                  <a:lnTo>
                    <a:pt x="139" y="74"/>
                  </a:lnTo>
                  <a:lnTo>
                    <a:pt x="139" y="74"/>
                  </a:lnTo>
                  <a:lnTo>
                    <a:pt x="139" y="74"/>
                  </a:lnTo>
                  <a:lnTo>
                    <a:pt x="137" y="75"/>
                  </a:lnTo>
                  <a:lnTo>
                    <a:pt x="136" y="75"/>
                  </a:lnTo>
                  <a:lnTo>
                    <a:pt x="135" y="75"/>
                  </a:lnTo>
                  <a:lnTo>
                    <a:pt x="134" y="74"/>
                  </a:lnTo>
                  <a:lnTo>
                    <a:pt x="133" y="74"/>
                  </a:lnTo>
                  <a:lnTo>
                    <a:pt x="132" y="74"/>
                  </a:lnTo>
                  <a:lnTo>
                    <a:pt x="131" y="73"/>
                  </a:lnTo>
                  <a:lnTo>
                    <a:pt x="130" y="73"/>
                  </a:lnTo>
                  <a:lnTo>
                    <a:pt x="129" y="72"/>
                  </a:lnTo>
                  <a:lnTo>
                    <a:pt x="128" y="71"/>
                  </a:lnTo>
                  <a:lnTo>
                    <a:pt x="127" y="70"/>
                  </a:lnTo>
                  <a:lnTo>
                    <a:pt x="125" y="69"/>
                  </a:lnTo>
                  <a:lnTo>
                    <a:pt x="125" y="68"/>
                  </a:lnTo>
                  <a:lnTo>
                    <a:pt x="124" y="68"/>
                  </a:lnTo>
                  <a:lnTo>
                    <a:pt x="124" y="67"/>
                  </a:lnTo>
                  <a:lnTo>
                    <a:pt x="124" y="67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2" y="67"/>
                  </a:lnTo>
                  <a:lnTo>
                    <a:pt x="122" y="67"/>
                  </a:lnTo>
                  <a:lnTo>
                    <a:pt x="122" y="68"/>
                  </a:lnTo>
                  <a:lnTo>
                    <a:pt x="120" y="68"/>
                  </a:lnTo>
                  <a:lnTo>
                    <a:pt x="119" y="68"/>
                  </a:lnTo>
                  <a:lnTo>
                    <a:pt x="117" y="68"/>
                  </a:lnTo>
                  <a:lnTo>
                    <a:pt x="115" y="68"/>
                  </a:lnTo>
                  <a:lnTo>
                    <a:pt x="115" y="68"/>
                  </a:lnTo>
                  <a:lnTo>
                    <a:pt x="114" y="68"/>
                  </a:lnTo>
                  <a:lnTo>
                    <a:pt x="114" y="68"/>
                  </a:lnTo>
                  <a:lnTo>
                    <a:pt x="114" y="68"/>
                  </a:lnTo>
                  <a:lnTo>
                    <a:pt x="114" y="68"/>
                  </a:lnTo>
                  <a:lnTo>
                    <a:pt x="114" y="69"/>
                  </a:lnTo>
                  <a:lnTo>
                    <a:pt x="114" y="70"/>
                  </a:lnTo>
                  <a:lnTo>
                    <a:pt x="112" y="70"/>
                  </a:lnTo>
                  <a:lnTo>
                    <a:pt x="110" y="70"/>
                  </a:lnTo>
                  <a:lnTo>
                    <a:pt x="109" y="70"/>
                  </a:lnTo>
                  <a:lnTo>
                    <a:pt x="107" y="70"/>
                  </a:lnTo>
                  <a:lnTo>
                    <a:pt x="107" y="68"/>
                  </a:lnTo>
                  <a:lnTo>
                    <a:pt x="107" y="67"/>
                  </a:lnTo>
                  <a:lnTo>
                    <a:pt x="107" y="66"/>
                  </a:lnTo>
                  <a:lnTo>
                    <a:pt x="106" y="65"/>
                  </a:lnTo>
                  <a:lnTo>
                    <a:pt x="106" y="65"/>
                  </a:lnTo>
                  <a:lnTo>
                    <a:pt x="105" y="64"/>
                  </a:lnTo>
                  <a:lnTo>
                    <a:pt x="105" y="63"/>
                  </a:lnTo>
                  <a:lnTo>
                    <a:pt x="104" y="63"/>
                  </a:lnTo>
                  <a:lnTo>
                    <a:pt x="104" y="62"/>
                  </a:lnTo>
                  <a:lnTo>
                    <a:pt x="103" y="62"/>
                  </a:lnTo>
                  <a:lnTo>
                    <a:pt x="102" y="61"/>
                  </a:lnTo>
                  <a:lnTo>
                    <a:pt x="101" y="61"/>
                  </a:lnTo>
                  <a:lnTo>
                    <a:pt x="101" y="60"/>
                  </a:lnTo>
                  <a:lnTo>
                    <a:pt x="100" y="60"/>
                  </a:lnTo>
                  <a:lnTo>
                    <a:pt x="98" y="60"/>
                  </a:lnTo>
                  <a:lnTo>
                    <a:pt x="96" y="59"/>
                  </a:lnTo>
                  <a:lnTo>
                    <a:pt x="94" y="59"/>
                  </a:lnTo>
                  <a:lnTo>
                    <a:pt x="92" y="59"/>
                  </a:lnTo>
                  <a:lnTo>
                    <a:pt x="89" y="59"/>
                  </a:lnTo>
                  <a:lnTo>
                    <a:pt x="85" y="58"/>
                  </a:lnTo>
                  <a:lnTo>
                    <a:pt x="83" y="58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79" y="58"/>
                  </a:lnTo>
                  <a:lnTo>
                    <a:pt x="79" y="58"/>
                  </a:lnTo>
                  <a:lnTo>
                    <a:pt x="78" y="57"/>
                  </a:lnTo>
                  <a:lnTo>
                    <a:pt x="77" y="57"/>
                  </a:lnTo>
                  <a:lnTo>
                    <a:pt x="76" y="56"/>
                  </a:lnTo>
                  <a:lnTo>
                    <a:pt x="75" y="55"/>
                  </a:lnTo>
                  <a:lnTo>
                    <a:pt x="74" y="55"/>
                  </a:lnTo>
                  <a:lnTo>
                    <a:pt x="73" y="54"/>
                  </a:lnTo>
                  <a:lnTo>
                    <a:pt x="72" y="53"/>
                  </a:lnTo>
                  <a:lnTo>
                    <a:pt x="72" y="52"/>
                  </a:lnTo>
                  <a:lnTo>
                    <a:pt x="71" y="52"/>
                  </a:lnTo>
                  <a:lnTo>
                    <a:pt x="70" y="51"/>
                  </a:lnTo>
                  <a:lnTo>
                    <a:pt x="69" y="50"/>
                  </a:lnTo>
                  <a:lnTo>
                    <a:pt x="68" y="50"/>
                  </a:lnTo>
                  <a:lnTo>
                    <a:pt x="67" y="50"/>
                  </a:lnTo>
                  <a:lnTo>
                    <a:pt x="66" y="49"/>
                  </a:lnTo>
                  <a:lnTo>
                    <a:pt x="65" y="49"/>
                  </a:lnTo>
                  <a:lnTo>
                    <a:pt x="65" y="49"/>
                  </a:lnTo>
                  <a:lnTo>
                    <a:pt x="64" y="49"/>
                  </a:lnTo>
                  <a:lnTo>
                    <a:pt x="63" y="49"/>
                  </a:lnTo>
                  <a:lnTo>
                    <a:pt x="62" y="50"/>
                  </a:lnTo>
                  <a:lnTo>
                    <a:pt x="62" y="49"/>
                  </a:lnTo>
                  <a:lnTo>
                    <a:pt x="61" y="50"/>
                  </a:lnTo>
                  <a:lnTo>
                    <a:pt x="61" y="50"/>
                  </a:lnTo>
                  <a:lnTo>
                    <a:pt x="61" y="50"/>
                  </a:lnTo>
                  <a:lnTo>
                    <a:pt x="61" y="50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59" y="51"/>
                  </a:lnTo>
                  <a:lnTo>
                    <a:pt x="57" y="51"/>
                  </a:lnTo>
                  <a:lnTo>
                    <a:pt x="56" y="51"/>
                  </a:lnTo>
                  <a:lnTo>
                    <a:pt x="54" y="51"/>
                  </a:lnTo>
                  <a:lnTo>
                    <a:pt x="53" y="51"/>
                  </a:lnTo>
                  <a:lnTo>
                    <a:pt x="52" y="51"/>
                  </a:lnTo>
                  <a:lnTo>
                    <a:pt x="50" y="51"/>
                  </a:lnTo>
                  <a:lnTo>
                    <a:pt x="49" y="52"/>
                  </a:lnTo>
                  <a:lnTo>
                    <a:pt x="48" y="52"/>
                  </a:lnTo>
                  <a:lnTo>
                    <a:pt x="47" y="52"/>
                  </a:lnTo>
                  <a:lnTo>
                    <a:pt x="46" y="53"/>
                  </a:lnTo>
                  <a:lnTo>
                    <a:pt x="45" y="53"/>
                  </a:lnTo>
                  <a:lnTo>
                    <a:pt x="44" y="54"/>
                  </a:lnTo>
                  <a:lnTo>
                    <a:pt x="44" y="55"/>
                  </a:lnTo>
                  <a:lnTo>
                    <a:pt x="43" y="55"/>
                  </a:lnTo>
                  <a:lnTo>
                    <a:pt x="42" y="56"/>
                  </a:lnTo>
                  <a:lnTo>
                    <a:pt x="42" y="57"/>
                  </a:lnTo>
                  <a:lnTo>
                    <a:pt x="42" y="58"/>
                  </a:lnTo>
                  <a:lnTo>
                    <a:pt x="42" y="59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41" y="60"/>
                  </a:lnTo>
                  <a:lnTo>
                    <a:pt x="41" y="60"/>
                  </a:lnTo>
                  <a:lnTo>
                    <a:pt x="41" y="60"/>
                  </a:lnTo>
                  <a:lnTo>
                    <a:pt x="41" y="60"/>
                  </a:lnTo>
                  <a:lnTo>
                    <a:pt x="41" y="60"/>
                  </a:lnTo>
                  <a:lnTo>
                    <a:pt x="41" y="61"/>
                  </a:lnTo>
                  <a:lnTo>
                    <a:pt x="41" y="61"/>
                  </a:lnTo>
                  <a:lnTo>
                    <a:pt x="42" y="61"/>
                  </a:lnTo>
                  <a:lnTo>
                    <a:pt x="42" y="61"/>
                  </a:lnTo>
                  <a:lnTo>
                    <a:pt x="42" y="61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2" y="63"/>
                  </a:lnTo>
                  <a:lnTo>
                    <a:pt x="42" y="64"/>
                  </a:lnTo>
                  <a:lnTo>
                    <a:pt x="42" y="65"/>
                  </a:lnTo>
                  <a:lnTo>
                    <a:pt x="42" y="66"/>
                  </a:lnTo>
                  <a:lnTo>
                    <a:pt x="42" y="67"/>
                  </a:lnTo>
                  <a:lnTo>
                    <a:pt x="43" y="67"/>
                  </a:lnTo>
                  <a:lnTo>
                    <a:pt x="43" y="68"/>
                  </a:lnTo>
                  <a:lnTo>
                    <a:pt x="44" y="69"/>
                  </a:lnTo>
                  <a:lnTo>
                    <a:pt x="44" y="69"/>
                  </a:lnTo>
                  <a:lnTo>
                    <a:pt x="45" y="70"/>
                  </a:lnTo>
                  <a:lnTo>
                    <a:pt x="45" y="71"/>
                  </a:lnTo>
                  <a:lnTo>
                    <a:pt x="45" y="71"/>
                  </a:lnTo>
                  <a:lnTo>
                    <a:pt x="45" y="72"/>
                  </a:lnTo>
                  <a:lnTo>
                    <a:pt x="45" y="73"/>
                  </a:lnTo>
                  <a:lnTo>
                    <a:pt x="45" y="73"/>
                  </a:lnTo>
                  <a:lnTo>
                    <a:pt x="45" y="74"/>
                  </a:lnTo>
                  <a:lnTo>
                    <a:pt x="45" y="74"/>
                  </a:lnTo>
                  <a:lnTo>
                    <a:pt x="45" y="74"/>
                  </a:lnTo>
                  <a:lnTo>
                    <a:pt x="43" y="76"/>
                  </a:lnTo>
                  <a:lnTo>
                    <a:pt x="41" y="78"/>
                  </a:lnTo>
                  <a:lnTo>
                    <a:pt x="39" y="80"/>
                  </a:lnTo>
                  <a:lnTo>
                    <a:pt x="37" y="81"/>
                  </a:lnTo>
                  <a:lnTo>
                    <a:pt x="36" y="82"/>
                  </a:lnTo>
                  <a:lnTo>
                    <a:pt x="35" y="83"/>
                  </a:lnTo>
                  <a:lnTo>
                    <a:pt x="34" y="83"/>
                  </a:lnTo>
                  <a:lnTo>
                    <a:pt x="32" y="84"/>
                  </a:lnTo>
                  <a:lnTo>
                    <a:pt x="31" y="85"/>
                  </a:lnTo>
                  <a:lnTo>
                    <a:pt x="29" y="85"/>
                  </a:lnTo>
                  <a:lnTo>
                    <a:pt x="27" y="85"/>
                  </a:lnTo>
                  <a:lnTo>
                    <a:pt x="26" y="86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2" y="85"/>
                  </a:lnTo>
                  <a:lnTo>
                    <a:pt x="22" y="86"/>
                  </a:lnTo>
                  <a:lnTo>
                    <a:pt x="22" y="86"/>
                  </a:lnTo>
                  <a:lnTo>
                    <a:pt x="21" y="86"/>
                  </a:lnTo>
                  <a:lnTo>
                    <a:pt x="21" y="87"/>
                  </a:lnTo>
                  <a:lnTo>
                    <a:pt x="19" y="87"/>
                  </a:lnTo>
                  <a:lnTo>
                    <a:pt x="18" y="88"/>
                  </a:lnTo>
                  <a:lnTo>
                    <a:pt x="17" y="88"/>
                  </a:lnTo>
                  <a:lnTo>
                    <a:pt x="16" y="89"/>
                  </a:lnTo>
                  <a:lnTo>
                    <a:pt x="15" y="89"/>
                  </a:lnTo>
                  <a:lnTo>
                    <a:pt x="14" y="89"/>
                  </a:lnTo>
                  <a:lnTo>
                    <a:pt x="13" y="90"/>
                  </a:lnTo>
                  <a:lnTo>
                    <a:pt x="12" y="90"/>
                  </a:lnTo>
                  <a:lnTo>
                    <a:pt x="11" y="90"/>
                  </a:lnTo>
                  <a:lnTo>
                    <a:pt x="10" y="90"/>
                  </a:lnTo>
                  <a:lnTo>
                    <a:pt x="9" y="90"/>
                  </a:lnTo>
                  <a:lnTo>
                    <a:pt x="7" y="90"/>
                  </a:lnTo>
                  <a:lnTo>
                    <a:pt x="7" y="90"/>
                  </a:lnTo>
                  <a:lnTo>
                    <a:pt x="6" y="90"/>
                  </a:lnTo>
                  <a:lnTo>
                    <a:pt x="5" y="90"/>
                  </a:lnTo>
                  <a:lnTo>
                    <a:pt x="4" y="90"/>
                  </a:lnTo>
                  <a:lnTo>
                    <a:pt x="3" y="90"/>
                  </a:lnTo>
                  <a:lnTo>
                    <a:pt x="2" y="89"/>
                  </a:lnTo>
                  <a:lnTo>
                    <a:pt x="2" y="89"/>
                  </a:lnTo>
                  <a:lnTo>
                    <a:pt x="1" y="88"/>
                  </a:lnTo>
                  <a:lnTo>
                    <a:pt x="1" y="87"/>
                  </a:lnTo>
                  <a:lnTo>
                    <a:pt x="1" y="86"/>
                  </a:lnTo>
                  <a:lnTo>
                    <a:pt x="0" y="85"/>
                  </a:lnTo>
                  <a:lnTo>
                    <a:pt x="0" y="84"/>
                  </a:lnTo>
                  <a:lnTo>
                    <a:pt x="0" y="82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1" y="74"/>
                  </a:lnTo>
                  <a:lnTo>
                    <a:pt x="1" y="72"/>
                  </a:lnTo>
                  <a:lnTo>
                    <a:pt x="1" y="71"/>
                  </a:lnTo>
                  <a:lnTo>
                    <a:pt x="1" y="71"/>
                  </a:lnTo>
                  <a:lnTo>
                    <a:pt x="2" y="71"/>
                  </a:lnTo>
                  <a:lnTo>
                    <a:pt x="2" y="71"/>
                  </a:lnTo>
                  <a:lnTo>
                    <a:pt x="3" y="71"/>
                  </a:lnTo>
                  <a:lnTo>
                    <a:pt x="3" y="71"/>
                  </a:lnTo>
                  <a:lnTo>
                    <a:pt x="4" y="71"/>
                  </a:lnTo>
                  <a:lnTo>
                    <a:pt x="5" y="71"/>
                  </a:lnTo>
                  <a:lnTo>
                    <a:pt x="5" y="71"/>
                  </a:lnTo>
                  <a:lnTo>
                    <a:pt x="6" y="70"/>
                  </a:lnTo>
                  <a:lnTo>
                    <a:pt x="6" y="69"/>
                  </a:lnTo>
                  <a:lnTo>
                    <a:pt x="7" y="68"/>
                  </a:lnTo>
                  <a:lnTo>
                    <a:pt x="7" y="68"/>
                  </a:lnTo>
                  <a:lnTo>
                    <a:pt x="7" y="67"/>
                  </a:lnTo>
                  <a:lnTo>
                    <a:pt x="8" y="65"/>
                  </a:lnTo>
                  <a:lnTo>
                    <a:pt x="8" y="63"/>
                  </a:lnTo>
                  <a:lnTo>
                    <a:pt x="9" y="62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0"/>
                  </a:lnTo>
                  <a:lnTo>
                    <a:pt x="9" y="60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7" y="59"/>
                  </a:lnTo>
                  <a:lnTo>
                    <a:pt x="6" y="59"/>
                  </a:lnTo>
                  <a:lnTo>
                    <a:pt x="5" y="58"/>
                  </a:lnTo>
                  <a:lnTo>
                    <a:pt x="5" y="58"/>
                  </a:lnTo>
                  <a:lnTo>
                    <a:pt x="5" y="58"/>
                  </a:lnTo>
                  <a:lnTo>
                    <a:pt x="4" y="58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5" y="56"/>
                  </a:lnTo>
                  <a:lnTo>
                    <a:pt x="6" y="55"/>
                  </a:lnTo>
                  <a:lnTo>
                    <a:pt x="6" y="55"/>
                  </a:lnTo>
                  <a:lnTo>
                    <a:pt x="6" y="55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3"/>
                  </a:lnTo>
                  <a:lnTo>
                    <a:pt x="7" y="53"/>
                  </a:lnTo>
                  <a:lnTo>
                    <a:pt x="7" y="53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1"/>
                  </a:lnTo>
                  <a:lnTo>
                    <a:pt x="7" y="51"/>
                  </a:lnTo>
                  <a:lnTo>
                    <a:pt x="6" y="50"/>
                  </a:lnTo>
                  <a:lnTo>
                    <a:pt x="6" y="49"/>
                  </a:lnTo>
                  <a:lnTo>
                    <a:pt x="5" y="48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3" y="46"/>
                  </a:lnTo>
                  <a:lnTo>
                    <a:pt x="3" y="45"/>
                  </a:lnTo>
                  <a:lnTo>
                    <a:pt x="2" y="44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4" y="44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6" y="43"/>
                  </a:lnTo>
                  <a:lnTo>
                    <a:pt x="7" y="43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39"/>
                  </a:lnTo>
                  <a:lnTo>
                    <a:pt x="6" y="39"/>
                  </a:lnTo>
                  <a:lnTo>
                    <a:pt x="6" y="38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5" y="36"/>
                  </a:lnTo>
                  <a:lnTo>
                    <a:pt x="5" y="35"/>
                  </a:lnTo>
                  <a:lnTo>
                    <a:pt x="5" y="34"/>
                  </a:lnTo>
                  <a:lnTo>
                    <a:pt x="5" y="33"/>
                  </a:lnTo>
                  <a:lnTo>
                    <a:pt x="5" y="32"/>
                  </a:lnTo>
                  <a:lnTo>
                    <a:pt x="5" y="31"/>
                  </a:lnTo>
                  <a:lnTo>
                    <a:pt x="5" y="30"/>
                  </a:lnTo>
                  <a:lnTo>
                    <a:pt x="5" y="29"/>
                  </a:lnTo>
                  <a:lnTo>
                    <a:pt x="5" y="28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3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10" y="23"/>
                  </a:lnTo>
                  <a:lnTo>
                    <a:pt x="10" y="23"/>
                  </a:lnTo>
                  <a:lnTo>
                    <a:pt x="10" y="23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1" y="22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2" y="21"/>
                  </a:lnTo>
                  <a:lnTo>
                    <a:pt x="13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7" y="20"/>
                  </a:lnTo>
                  <a:lnTo>
                    <a:pt x="17" y="19"/>
                  </a:lnTo>
                  <a:lnTo>
                    <a:pt x="18" y="19"/>
                  </a:lnTo>
                  <a:lnTo>
                    <a:pt x="19" y="19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7" y="15"/>
                  </a:lnTo>
                  <a:lnTo>
                    <a:pt x="28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30" y="15"/>
                  </a:lnTo>
                  <a:lnTo>
                    <a:pt x="31" y="15"/>
                  </a:lnTo>
                  <a:lnTo>
                    <a:pt x="32" y="15"/>
                  </a:lnTo>
                  <a:lnTo>
                    <a:pt x="33" y="15"/>
                  </a:lnTo>
                  <a:lnTo>
                    <a:pt x="34" y="15"/>
                  </a:lnTo>
                  <a:lnTo>
                    <a:pt x="35" y="15"/>
                  </a:lnTo>
                  <a:lnTo>
                    <a:pt x="36" y="15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8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39" y="11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1" y="8"/>
                  </a:lnTo>
                  <a:lnTo>
                    <a:pt x="42" y="8"/>
                  </a:lnTo>
                  <a:lnTo>
                    <a:pt x="43" y="7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6" y="4"/>
                  </a:lnTo>
                  <a:lnTo>
                    <a:pt x="46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1"/>
                  </a:lnTo>
                  <a:lnTo>
                    <a:pt x="50" y="1"/>
                  </a:lnTo>
                  <a:lnTo>
                    <a:pt x="50" y="1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7" y="1"/>
                  </a:lnTo>
                  <a:lnTo>
                    <a:pt x="57" y="1"/>
                  </a:lnTo>
                  <a:lnTo>
                    <a:pt x="58" y="1"/>
                  </a:lnTo>
                  <a:lnTo>
                    <a:pt x="59" y="1"/>
                  </a:lnTo>
                  <a:lnTo>
                    <a:pt x="60" y="1"/>
                  </a:lnTo>
                  <a:lnTo>
                    <a:pt x="60" y="1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3" y="3"/>
                  </a:lnTo>
                  <a:lnTo>
                    <a:pt x="64" y="3"/>
                  </a:lnTo>
                  <a:lnTo>
                    <a:pt x="65" y="3"/>
                  </a:lnTo>
                  <a:lnTo>
                    <a:pt x="65" y="3"/>
                  </a:lnTo>
                  <a:lnTo>
                    <a:pt x="66" y="4"/>
                  </a:lnTo>
                  <a:lnTo>
                    <a:pt x="66" y="4"/>
                  </a:lnTo>
                  <a:lnTo>
                    <a:pt x="67" y="5"/>
                  </a:lnTo>
                  <a:lnTo>
                    <a:pt x="68" y="5"/>
                  </a:lnTo>
                  <a:lnTo>
                    <a:pt x="69" y="6"/>
                  </a:lnTo>
                  <a:lnTo>
                    <a:pt x="69" y="6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71" y="6"/>
                  </a:lnTo>
                  <a:lnTo>
                    <a:pt x="72" y="6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3" y="7"/>
                  </a:lnTo>
                  <a:lnTo>
                    <a:pt x="73" y="7"/>
                  </a:lnTo>
                  <a:lnTo>
                    <a:pt x="73" y="7"/>
                  </a:lnTo>
                  <a:lnTo>
                    <a:pt x="73" y="7"/>
                  </a:lnTo>
                  <a:lnTo>
                    <a:pt x="73" y="7"/>
                  </a:lnTo>
                  <a:lnTo>
                    <a:pt x="73" y="7"/>
                  </a:lnTo>
                  <a:lnTo>
                    <a:pt x="74" y="7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5" y="6"/>
                  </a:lnTo>
                  <a:lnTo>
                    <a:pt x="75" y="6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7" y="4"/>
                  </a:lnTo>
                  <a:lnTo>
                    <a:pt x="78" y="4"/>
                  </a:lnTo>
                  <a:lnTo>
                    <a:pt x="78" y="3"/>
                  </a:lnTo>
                  <a:lnTo>
                    <a:pt x="78" y="3"/>
                  </a:lnTo>
                  <a:lnTo>
                    <a:pt x="79" y="3"/>
                  </a:lnTo>
                  <a:lnTo>
                    <a:pt x="79" y="3"/>
                  </a:lnTo>
                  <a:lnTo>
                    <a:pt x="80" y="3"/>
                  </a:lnTo>
                  <a:lnTo>
                    <a:pt x="80" y="3"/>
                  </a:lnTo>
                  <a:lnTo>
                    <a:pt x="80" y="3"/>
                  </a:lnTo>
                  <a:lnTo>
                    <a:pt x="80" y="2"/>
                  </a:lnTo>
                  <a:lnTo>
                    <a:pt x="80" y="2"/>
                  </a:lnTo>
                  <a:lnTo>
                    <a:pt x="80" y="2"/>
                  </a:lnTo>
                  <a:lnTo>
                    <a:pt x="80" y="1"/>
                  </a:lnTo>
                  <a:lnTo>
                    <a:pt x="81" y="1"/>
                  </a:lnTo>
                  <a:lnTo>
                    <a:pt x="81" y="1"/>
                  </a:lnTo>
                  <a:lnTo>
                    <a:pt x="82" y="1"/>
                  </a:lnTo>
                  <a:lnTo>
                    <a:pt x="82" y="1"/>
                  </a:lnTo>
                  <a:lnTo>
                    <a:pt x="82" y="2"/>
                  </a:lnTo>
                  <a:lnTo>
                    <a:pt x="82" y="2"/>
                  </a:lnTo>
                  <a:lnTo>
                    <a:pt x="82" y="2"/>
                  </a:lnTo>
                  <a:lnTo>
                    <a:pt x="82" y="3"/>
                  </a:lnTo>
                  <a:lnTo>
                    <a:pt x="83" y="3"/>
                  </a:lnTo>
                  <a:lnTo>
                    <a:pt x="83" y="3"/>
                  </a:lnTo>
                  <a:lnTo>
                    <a:pt x="83" y="3"/>
                  </a:lnTo>
                  <a:lnTo>
                    <a:pt x="84" y="3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5" y="5"/>
                  </a:lnTo>
                  <a:lnTo>
                    <a:pt x="85" y="6"/>
                  </a:lnTo>
                  <a:lnTo>
                    <a:pt x="85" y="7"/>
                  </a:lnTo>
                  <a:lnTo>
                    <a:pt x="85" y="7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5" y="9"/>
                  </a:lnTo>
                  <a:lnTo>
                    <a:pt x="85" y="10"/>
                  </a:lnTo>
                  <a:lnTo>
                    <a:pt x="85" y="10"/>
                  </a:lnTo>
                  <a:lnTo>
                    <a:pt x="85" y="11"/>
                  </a:lnTo>
                  <a:lnTo>
                    <a:pt x="85" y="12"/>
                  </a:lnTo>
                  <a:lnTo>
                    <a:pt x="86" y="12"/>
                  </a:lnTo>
                  <a:lnTo>
                    <a:pt x="86" y="12"/>
                  </a:lnTo>
                  <a:lnTo>
                    <a:pt x="86" y="13"/>
                  </a:lnTo>
                  <a:lnTo>
                    <a:pt x="87" y="13"/>
                  </a:lnTo>
                  <a:lnTo>
                    <a:pt x="87" y="13"/>
                  </a:lnTo>
                  <a:lnTo>
                    <a:pt x="87" y="14"/>
                  </a:lnTo>
                  <a:lnTo>
                    <a:pt x="87" y="15"/>
                  </a:lnTo>
                  <a:lnTo>
                    <a:pt x="87" y="15"/>
                  </a:lnTo>
                  <a:lnTo>
                    <a:pt x="87" y="16"/>
                  </a:lnTo>
                  <a:lnTo>
                    <a:pt x="87" y="17"/>
                  </a:lnTo>
                  <a:lnTo>
                    <a:pt x="88" y="17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9" y="19"/>
                  </a:lnTo>
                  <a:lnTo>
                    <a:pt x="89" y="19"/>
                  </a:lnTo>
                  <a:lnTo>
                    <a:pt x="90" y="19"/>
                  </a:lnTo>
                  <a:lnTo>
                    <a:pt x="90" y="20"/>
                  </a:lnTo>
                  <a:lnTo>
                    <a:pt x="90" y="22"/>
                  </a:lnTo>
                  <a:lnTo>
                    <a:pt x="90" y="24"/>
                  </a:lnTo>
                  <a:lnTo>
                    <a:pt x="90" y="26"/>
                  </a:lnTo>
                  <a:lnTo>
                    <a:pt x="90" y="28"/>
                  </a:lnTo>
                  <a:lnTo>
                    <a:pt x="90" y="28"/>
                  </a:lnTo>
                  <a:lnTo>
                    <a:pt x="89" y="28"/>
                  </a:lnTo>
                  <a:lnTo>
                    <a:pt x="89" y="29"/>
                  </a:lnTo>
                  <a:lnTo>
                    <a:pt x="88" y="29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87" y="31"/>
                  </a:lnTo>
                  <a:lnTo>
                    <a:pt x="87" y="31"/>
                  </a:lnTo>
                  <a:lnTo>
                    <a:pt x="87" y="32"/>
                  </a:lnTo>
                  <a:lnTo>
                    <a:pt x="87" y="33"/>
                  </a:lnTo>
                  <a:lnTo>
                    <a:pt x="87" y="34"/>
                  </a:lnTo>
                  <a:lnTo>
                    <a:pt x="87" y="35"/>
                  </a:lnTo>
                  <a:lnTo>
                    <a:pt x="88" y="35"/>
                  </a:lnTo>
                  <a:lnTo>
                    <a:pt x="89" y="36"/>
                  </a:lnTo>
                  <a:lnTo>
                    <a:pt x="90" y="36"/>
                  </a:lnTo>
                  <a:lnTo>
                    <a:pt x="91" y="37"/>
                  </a:lnTo>
                  <a:lnTo>
                    <a:pt x="92" y="37"/>
                  </a:lnTo>
                  <a:lnTo>
                    <a:pt x="93" y="37"/>
                  </a:lnTo>
                  <a:lnTo>
                    <a:pt x="93" y="38"/>
                  </a:lnTo>
                  <a:lnTo>
                    <a:pt x="94" y="38"/>
                  </a:lnTo>
                  <a:lnTo>
                    <a:pt x="95" y="38"/>
                  </a:lnTo>
                  <a:lnTo>
                    <a:pt x="96" y="38"/>
                  </a:lnTo>
                  <a:lnTo>
                    <a:pt x="97" y="37"/>
                  </a:lnTo>
                  <a:lnTo>
                    <a:pt x="98" y="37"/>
                  </a:lnTo>
                  <a:lnTo>
                    <a:pt x="99" y="37"/>
                  </a:lnTo>
                  <a:lnTo>
                    <a:pt x="100" y="37"/>
                  </a:lnTo>
                  <a:lnTo>
                    <a:pt x="102" y="36"/>
                  </a:lnTo>
                  <a:lnTo>
                    <a:pt x="103" y="36"/>
                  </a:lnTo>
                  <a:lnTo>
                    <a:pt x="103" y="36"/>
                  </a:lnTo>
                  <a:lnTo>
                    <a:pt x="103" y="36"/>
                  </a:lnTo>
                  <a:lnTo>
                    <a:pt x="103" y="36"/>
                  </a:lnTo>
                  <a:lnTo>
                    <a:pt x="104" y="36"/>
                  </a:lnTo>
                  <a:lnTo>
                    <a:pt x="104" y="35"/>
                  </a:lnTo>
                  <a:lnTo>
                    <a:pt x="104" y="35"/>
                  </a:lnTo>
                  <a:lnTo>
                    <a:pt x="104" y="35"/>
                  </a:lnTo>
                  <a:lnTo>
                    <a:pt x="104" y="35"/>
                  </a:lnTo>
                  <a:lnTo>
                    <a:pt x="105" y="34"/>
                  </a:lnTo>
                  <a:lnTo>
                    <a:pt x="105" y="34"/>
                  </a:lnTo>
                  <a:lnTo>
                    <a:pt x="106" y="34"/>
                  </a:lnTo>
                  <a:lnTo>
                    <a:pt x="106" y="33"/>
                  </a:lnTo>
                  <a:lnTo>
                    <a:pt x="107" y="33"/>
                  </a:lnTo>
                  <a:lnTo>
                    <a:pt x="107" y="33"/>
                  </a:lnTo>
                  <a:lnTo>
                    <a:pt x="107" y="33"/>
                  </a:lnTo>
                  <a:lnTo>
                    <a:pt x="108" y="33"/>
                  </a:lnTo>
                  <a:lnTo>
                    <a:pt x="108" y="33"/>
                  </a:lnTo>
                  <a:lnTo>
                    <a:pt x="108" y="32"/>
                  </a:lnTo>
                  <a:lnTo>
                    <a:pt x="109" y="32"/>
                  </a:lnTo>
                  <a:lnTo>
                    <a:pt x="109" y="32"/>
                  </a:lnTo>
                  <a:lnTo>
                    <a:pt x="109" y="32"/>
                  </a:lnTo>
                  <a:lnTo>
                    <a:pt x="109" y="31"/>
                  </a:lnTo>
                  <a:lnTo>
                    <a:pt x="109" y="31"/>
                  </a:lnTo>
                  <a:lnTo>
                    <a:pt x="110" y="31"/>
                  </a:lnTo>
                  <a:lnTo>
                    <a:pt x="110" y="31"/>
                  </a:lnTo>
                  <a:lnTo>
                    <a:pt x="111" y="32"/>
                  </a:lnTo>
                  <a:lnTo>
                    <a:pt x="111" y="32"/>
                  </a:lnTo>
                  <a:lnTo>
                    <a:pt x="111" y="32"/>
                  </a:lnTo>
                  <a:lnTo>
                    <a:pt x="112" y="33"/>
                  </a:lnTo>
                  <a:lnTo>
                    <a:pt x="112" y="34"/>
                  </a:lnTo>
                  <a:lnTo>
                    <a:pt x="113" y="35"/>
                  </a:lnTo>
                  <a:lnTo>
                    <a:pt x="113" y="36"/>
                  </a:lnTo>
                  <a:lnTo>
                    <a:pt x="113" y="37"/>
                  </a:lnTo>
                  <a:lnTo>
                    <a:pt x="113" y="38"/>
                  </a:lnTo>
                  <a:lnTo>
                    <a:pt x="114" y="39"/>
                  </a:lnTo>
                  <a:lnTo>
                    <a:pt x="114" y="40"/>
                  </a:lnTo>
                  <a:lnTo>
                    <a:pt x="114" y="41"/>
                  </a:lnTo>
                  <a:lnTo>
                    <a:pt x="115" y="41"/>
                  </a:lnTo>
                  <a:lnTo>
                    <a:pt x="115" y="42"/>
                  </a:lnTo>
                  <a:lnTo>
                    <a:pt x="116" y="42"/>
                  </a:lnTo>
                  <a:lnTo>
                    <a:pt x="116" y="43"/>
                  </a:lnTo>
                  <a:lnTo>
                    <a:pt x="117" y="43"/>
                  </a:lnTo>
                  <a:lnTo>
                    <a:pt x="117" y="43"/>
                  </a:lnTo>
                  <a:lnTo>
                    <a:pt x="117" y="43"/>
                  </a:lnTo>
                  <a:lnTo>
                    <a:pt x="118" y="43"/>
                  </a:lnTo>
                  <a:lnTo>
                    <a:pt x="118" y="43"/>
                  </a:lnTo>
                  <a:lnTo>
                    <a:pt x="118" y="42"/>
                  </a:lnTo>
                  <a:lnTo>
                    <a:pt x="118" y="42"/>
                  </a:lnTo>
                  <a:lnTo>
                    <a:pt x="119" y="42"/>
                  </a:lnTo>
                  <a:lnTo>
                    <a:pt x="119" y="42"/>
                  </a:lnTo>
                  <a:lnTo>
                    <a:pt x="119" y="41"/>
                  </a:lnTo>
                  <a:lnTo>
                    <a:pt x="119" y="41"/>
                  </a:lnTo>
                  <a:lnTo>
                    <a:pt x="120" y="41"/>
                  </a:lnTo>
                  <a:lnTo>
                    <a:pt x="120" y="41"/>
                  </a:lnTo>
                  <a:lnTo>
                    <a:pt x="120" y="40"/>
                  </a:lnTo>
                  <a:lnTo>
                    <a:pt x="120" y="40"/>
                  </a:lnTo>
                  <a:lnTo>
                    <a:pt x="120" y="39"/>
                  </a:lnTo>
                  <a:lnTo>
                    <a:pt x="120" y="39"/>
                  </a:lnTo>
                  <a:lnTo>
                    <a:pt x="120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2" y="38"/>
                  </a:lnTo>
                  <a:lnTo>
                    <a:pt x="122" y="37"/>
                  </a:lnTo>
                  <a:lnTo>
                    <a:pt x="123" y="37"/>
                  </a:lnTo>
                  <a:lnTo>
                    <a:pt x="123" y="36"/>
                  </a:lnTo>
                  <a:lnTo>
                    <a:pt x="124" y="36"/>
                  </a:lnTo>
                  <a:lnTo>
                    <a:pt x="124" y="36"/>
                  </a:lnTo>
                  <a:lnTo>
                    <a:pt x="125" y="36"/>
                  </a:lnTo>
                  <a:lnTo>
                    <a:pt x="125" y="37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6" y="38"/>
                  </a:lnTo>
                  <a:lnTo>
                    <a:pt x="127" y="38"/>
                  </a:lnTo>
                  <a:lnTo>
                    <a:pt x="127" y="39"/>
                  </a:lnTo>
                  <a:lnTo>
                    <a:pt x="127" y="39"/>
                  </a:lnTo>
                  <a:lnTo>
                    <a:pt x="127" y="39"/>
                  </a:lnTo>
                  <a:lnTo>
                    <a:pt x="128" y="40"/>
                  </a:lnTo>
                  <a:lnTo>
                    <a:pt x="128" y="40"/>
                  </a:lnTo>
                  <a:lnTo>
                    <a:pt x="129" y="40"/>
                  </a:lnTo>
                  <a:lnTo>
                    <a:pt x="130" y="40"/>
                  </a:lnTo>
                  <a:lnTo>
                    <a:pt x="130" y="40"/>
                  </a:lnTo>
                  <a:lnTo>
                    <a:pt x="131" y="40"/>
                  </a:lnTo>
                  <a:lnTo>
                    <a:pt x="131" y="40"/>
                  </a:lnTo>
                  <a:lnTo>
                    <a:pt x="131" y="40"/>
                  </a:lnTo>
                  <a:lnTo>
                    <a:pt x="131" y="41"/>
                  </a:lnTo>
                  <a:lnTo>
                    <a:pt x="132" y="41"/>
                  </a:lnTo>
                  <a:lnTo>
                    <a:pt x="132" y="41"/>
                  </a:lnTo>
                  <a:lnTo>
                    <a:pt x="133" y="41"/>
                  </a:lnTo>
                  <a:lnTo>
                    <a:pt x="133" y="41"/>
                  </a:lnTo>
                  <a:lnTo>
                    <a:pt x="134" y="41"/>
                  </a:lnTo>
                  <a:lnTo>
                    <a:pt x="134" y="41"/>
                  </a:lnTo>
                  <a:lnTo>
                    <a:pt x="134" y="41"/>
                  </a:lnTo>
                  <a:lnTo>
                    <a:pt x="135" y="41"/>
                  </a:lnTo>
                  <a:lnTo>
                    <a:pt x="135" y="40"/>
                  </a:lnTo>
                  <a:lnTo>
                    <a:pt x="135" y="40"/>
                  </a:lnTo>
                  <a:lnTo>
                    <a:pt x="135" y="40"/>
                  </a:lnTo>
                  <a:lnTo>
                    <a:pt x="135" y="40"/>
                  </a:lnTo>
                  <a:lnTo>
                    <a:pt x="136" y="40"/>
                  </a:lnTo>
                  <a:lnTo>
                    <a:pt x="136" y="39"/>
                  </a:lnTo>
                  <a:lnTo>
                    <a:pt x="136" y="39"/>
                  </a:lnTo>
                  <a:lnTo>
                    <a:pt x="137" y="39"/>
                  </a:lnTo>
                  <a:lnTo>
                    <a:pt x="137" y="39"/>
                  </a:lnTo>
                  <a:lnTo>
                    <a:pt x="138" y="39"/>
                  </a:lnTo>
                  <a:lnTo>
                    <a:pt x="138" y="38"/>
                  </a:lnTo>
                  <a:lnTo>
                    <a:pt x="138" y="38"/>
                  </a:lnTo>
                  <a:lnTo>
                    <a:pt x="138" y="39"/>
                  </a:lnTo>
                  <a:lnTo>
                    <a:pt x="138" y="39"/>
                  </a:lnTo>
                  <a:lnTo>
                    <a:pt x="138" y="39"/>
                  </a:lnTo>
                  <a:lnTo>
                    <a:pt x="139" y="39"/>
                  </a:lnTo>
                  <a:lnTo>
                    <a:pt x="139" y="40"/>
                  </a:lnTo>
                </a:path>
              </a:pathLst>
            </a:custGeom>
            <a:grpFill/>
            <a:ln w="3175" cap="flat" cmpd="sng">
              <a:solidFill>
                <a:schemeClr val="accent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algn="ctr" defTabSz="781394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800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54" name="Freeform 43"/>
            <p:cNvSpPr>
              <a:spLocks/>
            </p:cNvSpPr>
            <p:nvPr/>
          </p:nvSpPr>
          <p:spPr bwMode="auto">
            <a:xfrm>
              <a:off x="3488369" y="4102903"/>
              <a:ext cx="1044223" cy="922075"/>
            </a:xfrm>
            <a:custGeom>
              <a:avLst/>
              <a:gdLst/>
              <a:ahLst/>
              <a:cxnLst>
                <a:cxn ang="0">
                  <a:pos x="6" y="56"/>
                </a:cxn>
                <a:cxn ang="0">
                  <a:pos x="22" y="84"/>
                </a:cxn>
                <a:cxn ang="0">
                  <a:pos x="34" y="123"/>
                </a:cxn>
                <a:cxn ang="0">
                  <a:pos x="56" y="162"/>
                </a:cxn>
                <a:cxn ang="0">
                  <a:pos x="73" y="224"/>
                </a:cxn>
                <a:cxn ang="0">
                  <a:pos x="84" y="269"/>
                </a:cxn>
                <a:cxn ang="0">
                  <a:pos x="95" y="314"/>
                </a:cxn>
                <a:cxn ang="0">
                  <a:pos x="95" y="359"/>
                </a:cxn>
                <a:cxn ang="0">
                  <a:pos x="95" y="409"/>
                </a:cxn>
                <a:cxn ang="0">
                  <a:pos x="78" y="454"/>
                </a:cxn>
                <a:cxn ang="0">
                  <a:pos x="62" y="493"/>
                </a:cxn>
                <a:cxn ang="0">
                  <a:pos x="78" y="515"/>
                </a:cxn>
                <a:cxn ang="0">
                  <a:pos x="106" y="538"/>
                </a:cxn>
                <a:cxn ang="0">
                  <a:pos x="129" y="555"/>
                </a:cxn>
                <a:cxn ang="0">
                  <a:pos x="145" y="577"/>
                </a:cxn>
                <a:cxn ang="0">
                  <a:pos x="157" y="600"/>
                </a:cxn>
                <a:cxn ang="0">
                  <a:pos x="168" y="633"/>
                </a:cxn>
                <a:cxn ang="0">
                  <a:pos x="179" y="667"/>
                </a:cxn>
                <a:cxn ang="0">
                  <a:pos x="196" y="678"/>
                </a:cxn>
                <a:cxn ang="0">
                  <a:pos x="218" y="689"/>
                </a:cxn>
                <a:cxn ang="0">
                  <a:pos x="229" y="695"/>
                </a:cxn>
                <a:cxn ang="0">
                  <a:pos x="241" y="717"/>
                </a:cxn>
                <a:cxn ang="0">
                  <a:pos x="246" y="734"/>
                </a:cxn>
                <a:cxn ang="0">
                  <a:pos x="325" y="555"/>
                </a:cxn>
                <a:cxn ang="0">
                  <a:pos x="631" y="510"/>
                </a:cxn>
                <a:cxn ang="0">
                  <a:pos x="804" y="470"/>
                </a:cxn>
                <a:cxn ang="0">
                  <a:pos x="884" y="521"/>
                </a:cxn>
                <a:cxn ang="0">
                  <a:pos x="884" y="487"/>
                </a:cxn>
                <a:cxn ang="0">
                  <a:pos x="867" y="459"/>
                </a:cxn>
                <a:cxn ang="0">
                  <a:pos x="856" y="437"/>
                </a:cxn>
                <a:cxn ang="0">
                  <a:pos x="845" y="398"/>
                </a:cxn>
                <a:cxn ang="0">
                  <a:pos x="822" y="342"/>
                </a:cxn>
                <a:cxn ang="0">
                  <a:pos x="817" y="319"/>
                </a:cxn>
                <a:cxn ang="0">
                  <a:pos x="794" y="303"/>
                </a:cxn>
                <a:cxn ang="0">
                  <a:pos x="778" y="297"/>
                </a:cxn>
                <a:cxn ang="0">
                  <a:pos x="739" y="286"/>
                </a:cxn>
                <a:cxn ang="0">
                  <a:pos x="694" y="224"/>
                </a:cxn>
                <a:cxn ang="0">
                  <a:pos x="660" y="179"/>
                </a:cxn>
                <a:cxn ang="0">
                  <a:pos x="638" y="146"/>
                </a:cxn>
                <a:cxn ang="0">
                  <a:pos x="627" y="118"/>
                </a:cxn>
                <a:cxn ang="0">
                  <a:pos x="621" y="84"/>
                </a:cxn>
                <a:cxn ang="0">
                  <a:pos x="615" y="50"/>
                </a:cxn>
                <a:cxn ang="0">
                  <a:pos x="615" y="11"/>
                </a:cxn>
                <a:cxn ang="0">
                  <a:pos x="537" y="11"/>
                </a:cxn>
                <a:cxn ang="0">
                  <a:pos x="431" y="22"/>
                </a:cxn>
                <a:cxn ang="0">
                  <a:pos x="313" y="34"/>
                </a:cxn>
                <a:cxn ang="0">
                  <a:pos x="201" y="39"/>
                </a:cxn>
                <a:cxn ang="0">
                  <a:pos x="78" y="39"/>
                </a:cxn>
              </a:cxnLst>
              <a:rect l="0" t="0" r="r" b="b"/>
              <a:pathLst>
                <a:path w="884" h="734">
                  <a:moveTo>
                    <a:pt x="0" y="39"/>
                  </a:moveTo>
                  <a:lnTo>
                    <a:pt x="0" y="45"/>
                  </a:lnTo>
                  <a:lnTo>
                    <a:pt x="6" y="56"/>
                  </a:lnTo>
                  <a:lnTo>
                    <a:pt x="11" y="62"/>
                  </a:lnTo>
                  <a:lnTo>
                    <a:pt x="17" y="73"/>
                  </a:lnTo>
                  <a:lnTo>
                    <a:pt x="22" y="84"/>
                  </a:lnTo>
                  <a:lnTo>
                    <a:pt x="28" y="101"/>
                  </a:lnTo>
                  <a:lnTo>
                    <a:pt x="34" y="112"/>
                  </a:lnTo>
                  <a:lnTo>
                    <a:pt x="34" y="123"/>
                  </a:lnTo>
                  <a:lnTo>
                    <a:pt x="39" y="140"/>
                  </a:lnTo>
                  <a:lnTo>
                    <a:pt x="50" y="151"/>
                  </a:lnTo>
                  <a:lnTo>
                    <a:pt x="56" y="162"/>
                  </a:lnTo>
                  <a:lnTo>
                    <a:pt x="67" y="196"/>
                  </a:lnTo>
                  <a:lnTo>
                    <a:pt x="67" y="207"/>
                  </a:lnTo>
                  <a:lnTo>
                    <a:pt x="73" y="224"/>
                  </a:lnTo>
                  <a:lnTo>
                    <a:pt x="78" y="241"/>
                  </a:lnTo>
                  <a:lnTo>
                    <a:pt x="78" y="252"/>
                  </a:lnTo>
                  <a:lnTo>
                    <a:pt x="84" y="269"/>
                  </a:lnTo>
                  <a:lnTo>
                    <a:pt x="84" y="286"/>
                  </a:lnTo>
                  <a:lnTo>
                    <a:pt x="95" y="303"/>
                  </a:lnTo>
                  <a:lnTo>
                    <a:pt x="95" y="314"/>
                  </a:lnTo>
                  <a:lnTo>
                    <a:pt x="95" y="331"/>
                  </a:lnTo>
                  <a:lnTo>
                    <a:pt x="95" y="347"/>
                  </a:lnTo>
                  <a:lnTo>
                    <a:pt x="95" y="359"/>
                  </a:lnTo>
                  <a:lnTo>
                    <a:pt x="95" y="381"/>
                  </a:lnTo>
                  <a:lnTo>
                    <a:pt x="95" y="392"/>
                  </a:lnTo>
                  <a:lnTo>
                    <a:pt x="95" y="409"/>
                  </a:lnTo>
                  <a:lnTo>
                    <a:pt x="84" y="426"/>
                  </a:lnTo>
                  <a:lnTo>
                    <a:pt x="84" y="437"/>
                  </a:lnTo>
                  <a:lnTo>
                    <a:pt x="78" y="454"/>
                  </a:lnTo>
                  <a:lnTo>
                    <a:pt x="73" y="465"/>
                  </a:lnTo>
                  <a:lnTo>
                    <a:pt x="73" y="482"/>
                  </a:lnTo>
                  <a:lnTo>
                    <a:pt x="62" y="493"/>
                  </a:lnTo>
                  <a:lnTo>
                    <a:pt x="67" y="499"/>
                  </a:lnTo>
                  <a:lnTo>
                    <a:pt x="73" y="504"/>
                  </a:lnTo>
                  <a:lnTo>
                    <a:pt x="78" y="515"/>
                  </a:lnTo>
                  <a:lnTo>
                    <a:pt x="84" y="521"/>
                  </a:lnTo>
                  <a:lnTo>
                    <a:pt x="95" y="527"/>
                  </a:lnTo>
                  <a:lnTo>
                    <a:pt x="106" y="538"/>
                  </a:lnTo>
                  <a:lnTo>
                    <a:pt x="117" y="543"/>
                  </a:lnTo>
                  <a:lnTo>
                    <a:pt x="123" y="549"/>
                  </a:lnTo>
                  <a:lnTo>
                    <a:pt x="129" y="555"/>
                  </a:lnTo>
                  <a:lnTo>
                    <a:pt x="134" y="566"/>
                  </a:lnTo>
                  <a:lnTo>
                    <a:pt x="145" y="572"/>
                  </a:lnTo>
                  <a:lnTo>
                    <a:pt x="145" y="577"/>
                  </a:lnTo>
                  <a:lnTo>
                    <a:pt x="151" y="583"/>
                  </a:lnTo>
                  <a:lnTo>
                    <a:pt x="151" y="588"/>
                  </a:lnTo>
                  <a:lnTo>
                    <a:pt x="157" y="600"/>
                  </a:lnTo>
                  <a:lnTo>
                    <a:pt x="162" y="616"/>
                  </a:lnTo>
                  <a:lnTo>
                    <a:pt x="162" y="622"/>
                  </a:lnTo>
                  <a:lnTo>
                    <a:pt x="168" y="633"/>
                  </a:lnTo>
                  <a:lnTo>
                    <a:pt x="173" y="644"/>
                  </a:lnTo>
                  <a:lnTo>
                    <a:pt x="173" y="650"/>
                  </a:lnTo>
                  <a:lnTo>
                    <a:pt x="179" y="667"/>
                  </a:lnTo>
                  <a:lnTo>
                    <a:pt x="179" y="672"/>
                  </a:lnTo>
                  <a:lnTo>
                    <a:pt x="190" y="672"/>
                  </a:lnTo>
                  <a:lnTo>
                    <a:pt x="196" y="678"/>
                  </a:lnTo>
                  <a:lnTo>
                    <a:pt x="201" y="678"/>
                  </a:lnTo>
                  <a:lnTo>
                    <a:pt x="207" y="684"/>
                  </a:lnTo>
                  <a:lnTo>
                    <a:pt x="218" y="689"/>
                  </a:lnTo>
                  <a:lnTo>
                    <a:pt x="224" y="689"/>
                  </a:lnTo>
                  <a:lnTo>
                    <a:pt x="224" y="695"/>
                  </a:lnTo>
                  <a:lnTo>
                    <a:pt x="229" y="695"/>
                  </a:lnTo>
                  <a:lnTo>
                    <a:pt x="229" y="706"/>
                  </a:lnTo>
                  <a:lnTo>
                    <a:pt x="241" y="712"/>
                  </a:lnTo>
                  <a:lnTo>
                    <a:pt x="241" y="717"/>
                  </a:lnTo>
                  <a:lnTo>
                    <a:pt x="246" y="723"/>
                  </a:lnTo>
                  <a:lnTo>
                    <a:pt x="246" y="728"/>
                  </a:lnTo>
                  <a:lnTo>
                    <a:pt x="246" y="734"/>
                  </a:lnTo>
                  <a:lnTo>
                    <a:pt x="246" y="734"/>
                  </a:lnTo>
                  <a:lnTo>
                    <a:pt x="252" y="734"/>
                  </a:lnTo>
                  <a:cubicBezTo>
                    <a:pt x="265" y="704"/>
                    <a:pt x="206" y="594"/>
                    <a:pt x="325" y="555"/>
                  </a:cubicBezTo>
                  <a:cubicBezTo>
                    <a:pt x="444" y="516"/>
                    <a:pt x="541" y="650"/>
                    <a:pt x="593" y="628"/>
                  </a:cubicBezTo>
                  <a:cubicBezTo>
                    <a:pt x="643" y="630"/>
                    <a:pt x="619" y="588"/>
                    <a:pt x="625" y="568"/>
                  </a:cubicBezTo>
                  <a:cubicBezTo>
                    <a:pt x="631" y="548"/>
                    <a:pt x="620" y="531"/>
                    <a:pt x="631" y="510"/>
                  </a:cubicBezTo>
                  <a:cubicBezTo>
                    <a:pt x="642" y="489"/>
                    <a:pt x="672" y="457"/>
                    <a:pt x="692" y="445"/>
                  </a:cubicBezTo>
                  <a:cubicBezTo>
                    <a:pt x="712" y="433"/>
                    <a:pt x="722" y="426"/>
                    <a:pt x="754" y="440"/>
                  </a:cubicBezTo>
                  <a:cubicBezTo>
                    <a:pt x="773" y="444"/>
                    <a:pt x="782" y="455"/>
                    <a:pt x="804" y="470"/>
                  </a:cubicBezTo>
                  <a:cubicBezTo>
                    <a:pt x="826" y="485"/>
                    <a:pt x="871" y="517"/>
                    <a:pt x="884" y="527"/>
                  </a:cubicBezTo>
                  <a:lnTo>
                    <a:pt x="884" y="527"/>
                  </a:lnTo>
                  <a:lnTo>
                    <a:pt x="884" y="521"/>
                  </a:lnTo>
                  <a:lnTo>
                    <a:pt x="884" y="504"/>
                  </a:lnTo>
                  <a:lnTo>
                    <a:pt x="884" y="493"/>
                  </a:lnTo>
                  <a:lnTo>
                    <a:pt x="884" y="487"/>
                  </a:lnTo>
                  <a:lnTo>
                    <a:pt x="878" y="482"/>
                  </a:lnTo>
                  <a:lnTo>
                    <a:pt x="873" y="465"/>
                  </a:lnTo>
                  <a:lnTo>
                    <a:pt x="867" y="459"/>
                  </a:lnTo>
                  <a:lnTo>
                    <a:pt x="867" y="454"/>
                  </a:lnTo>
                  <a:lnTo>
                    <a:pt x="862" y="448"/>
                  </a:lnTo>
                  <a:lnTo>
                    <a:pt x="856" y="437"/>
                  </a:lnTo>
                  <a:lnTo>
                    <a:pt x="856" y="431"/>
                  </a:lnTo>
                  <a:lnTo>
                    <a:pt x="850" y="415"/>
                  </a:lnTo>
                  <a:lnTo>
                    <a:pt x="845" y="398"/>
                  </a:lnTo>
                  <a:lnTo>
                    <a:pt x="834" y="381"/>
                  </a:lnTo>
                  <a:lnTo>
                    <a:pt x="828" y="359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17" y="331"/>
                  </a:lnTo>
                  <a:lnTo>
                    <a:pt x="817" y="319"/>
                  </a:lnTo>
                  <a:lnTo>
                    <a:pt x="811" y="314"/>
                  </a:lnTo>
                  <a:lnTo>
                    <a:pt x="806" y="308"/>
                  </a:lnTo>
                  <a:lnTo>
                    <a:pt x="794" y="303"/>
                  </a:lnTo>
                  <a:lnTo>
                    <a:pt x="789" y="303"/>
                  </a:lnTo>
                  <a:lnTo>
                    <a:pt x="783" y="297"/>
                  </a:lnTo>
                  <a:lnTo>
                    <a:pt x="778" y="297"/>
                  </a:lnTo>
                  <a:lnTo>
                    <a:pt x="767" y="291"/>
                  </a:lnTo>
                  <a:lnTo>
                    <a:pt x="755" y="291"/>
                  </a:lnTo>
                  <a:lnTo>
                    <a:pt x="739" y="286"/>
                  </a:lnTo>
                  <a:lnTo>
                    <a:pt x="727" y="269"/>
                  </a:lnTo>
                  <a:lnTo>
                    <a:pt x="716" y="258"/>
                  </a:lnTo>
                  <a:lnTo>
                    <a:pt x="694" y="224"/>
                  </a:lnTo>
                  <a:lnTo>
                    <a:pt x="683" y="213"/>
                  </a:lnTo>
                  <a:lnTo>
                    <a:pt x="671" y="202"/>
                  </a:lnTo>
                  <a:lnTo>
                    <a:pt x="660" y="179"/>
                  </a:lnTo>
                  <a:lnTo>
                    <a:pt x="649" y="168"/>
                  </a:lnTo>
                  <a:lnTo>
                    <a:pt x="638" y="151"/>
                  </a:lnTo>
                  <a:lnTo>
                    <a:pt x="638" y="146"/>
                  </a:lnTo>
                  <a:lnTo>
                    <a:pt x="632" y="129"/>
                  </a:lnTo>
                  <a:lnTo>
                    <a:pt x="632" y="123"/>
                  </a:lnTo>
                  <a:lnTo>
                    <a:pt x="627" y="118"/>
                  </a:lnTo>
                  <a:lnTo>
                    <a:pt x="621" y="106"/>
                  </a:lnTo>
                  <a:lnTo>
                    <a:pt x="621" y="95"/>
                  </a:lnTo>
                  <a:lnTo>
                    <a:pt x="621" y="84"/>
                  </a:lnTo>
                  <a:lnTo>
                    <a:pt x="615" y="73"/>
                  </a:lnTo>
                  <a:lnTo>
                    <a:pt x="615" y="62"/>
                  </a:lnTo>
                  <a:lnTo>
                    <a:pt x="615" y="50"/>
                  </a:lnTo>
                  <a:lnTo>
                    <a:pt x="615" y="34"/>
                  </a:lnTo>
                  <a:lnTo>
                    <a:pt x="615" y="22"/>
                  </a:lnTo>
                  <a:lnTo>
                    <a:pt x="615" y="11"/>
                  </a:lnTo>
                  <a:lnTo>
                    <a:pt x="615" y="0"/>
                  </a:lnTo>
                  <a:lnTo>
                    <a:pt x="576" y="6"/>
                  </a:lnTo>
                  <a:lnTo>
                    <a:pt x="537" y="11"/>
                  </a:lnTo>
                  <a:lnTo>
                    <a:pt x="504" y="17"/>
                  </a:lnTo>
                  <a:lnTo>
                    <a:pt x="470" y="17"/>
                  </a:lnTo>
                  <a:lnTo>
                    <a:pt x="431" y="22"/>
                  </a:lnTo>
                  <a:lnTo>
                    <a:pt x="392" y="22"/>
                  </a:lnTo>
                  <a:lnTo>
                    <a:pt x="352" y="28"/>
                  </a:lnTo>
                  <a:lnTo>
                    <a:pt x="313" y="34"/>
                  </a:lnTo>
                  <a:lnTo>
                    <a:pt x="280" y="34"/>
                  </a:lnTo>
                  <a:lnTo>
                    <a:pt x="241" y="34"/>
                  </a:lnTo>
                  <a:lnTo>
                    <a:pt x="201" y="39"/>
                  </a:lnTo>
                  <a:lnTo>
                    <a:pt x="162" y="39"/>
                  </a:lnTo>
                  <a:lnTo>
                    <a:pt x="117" y="39"/>
                  </a:lnTo>
                  <a:lnTo>
                    <a:pt x="78" y="39"/>
                  </a:lnTo>
                  <a:lnTo>
                    <a:pt x="39" y="39"/>
                  </a:lnTo>
                  <a:lnTo>
                    <a:pt x="0" y="39"/>
                  </a:lnTo>
                </a:path>
              </a:pathLst>
            </a:custGeom>
            <a:grpFill/>
            <a:ln w="3175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ctr" defTabSz="781394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800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</p:grpSp>
      <p:graphicFrame>
        <p:nvGraphicFramePr>
          <p:cNvPr id="140" name="Схема 139"/>
          <p:cNvGraphicFramePr/>
          <p:nvPr>
            <p:extLst>
              <p:ext uri="{D42A27DB-BD31-4B8C-83A1-F6EECF244321}">
                <p14:modId xmlns:p14="http://schemas.microsoft.com/office/powerpoint/2010/main" val="2126078508"/>
              </p:ext>
            </p:extLst>
          </p:nvPr>
        </p:nvGraphicFramePr>
        <p:xfrm>
          <a:off x="2555776" y="1103258"/>
          <a:ext cx="2088232" cy="5760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3" name="TextBox 82"/>
          <p:cNvSpPr txBox="1"/>
          <p:nvPr/>
        </p:nvSpPr>
        <p:spPr>
          <a:xfrm>
            <a:off x="2771800" y="764704"/>
            <a:ext cx="9364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i="1" u="sng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Костанйская</a:t>
            </a:r>
            <a:r>
              <a:rPr lang="ru-RU" sz="8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 область</a:t>
            </a:r>
            <a:endParaRPr lang="ru-RU" sz="800" b="1" i="1" u="sng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43" name="Схема 142"/>
          <p:cNvGraphicFramePr/>
          <p:nvPr>
            <p:extLst>
              <p:ext uri="{D42A27DB-BD31-4B8C-83A1-F6EECF244321}">
                <p14:modId xmlns:p14="http://schemas.microsoft.com/office/powerpoint/2010/main" val="3542197916"/>
              </p:ext>
            </p:extLst>
          </p:nvPr>
        </p:nvGraphicFramePr>
        <p:xfrm>
          <a:off x="3563888" y="1916832"/>
          <a:ext cx="2088232" cy="5760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44" name="TextBox 143"/>
          <p:cNvSpPr txBox="1"/>
          <p:nvPr/>
        </p:nvSpPr>
        <p:spPr>
          <a:xfrm>
            <a:off x="3779912" y="1578278"/>
            <a:ext cx="9364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00" b="1" i="1" u="sng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Акмолинская</a:t>
            </a:r>
            <a:r>
              <a:rPr lang="ru-RU" sz="7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 область</a:t>
            </a:r>
            <a:endParaRPr lang="ru-RU" sz="700" b="1" i="1" u="sng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45" name="Схема 144"/>
          <p:cNvGraphicFramePr/>
          <p:nvPr>
            <p:extLst>
              <p:ext uri="{D42A27DB-BD31-4B8C-83A1-F6EECF244321}">
                <p14:modId xmlns:p14="http://schemas.microsoft.com/office/powerpoint/2010/main" val="2908959366"/>
              </p:ext>
            </p:extLst>
          </p:nvPr>
        </p:nvGraphicFramePr>
        <p:xfrm>
          <a:off x="5605425" y="3383302"/>
          <a:ext cx="2088232" cy="5760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sp>
        <p:nvSpPr>
          <p:cNvPr id="146" name="TextBox 145"/>
          <p:cNvSpPr txBox="1"/>
          <p:nvPr/>
        </p:nvSpPr>
        <p:spPr>
          <a:xfrm>
            <a:off x="5761534" y="2924944"/>
            <a:ext cx="12105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Карагандинская </a:t>
            </a:r>
            <a:r>
              <a:rPr lang="ru-RU" sz="800" b="1" i="1" u="sng" dirty="0">
                <a:latin typeface="Arial" panose="020B0604020202020204" pitchFamily="34" charset="0"/>
                <a:cs typeface="Arial" panose="020B0604020202020204" pitchFamily="34" charset="0"/>
              </a:rPr>
              <a:t>область </a:t>
            </a:r>
            <a:r>
              <a:rPr lang="ru-RU" sz="8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8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700" b="1" i="1" u="sng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700" b="1" i="1" u="sng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ЭЗ «</a:t>
            </a:r>
            <a:r>
              <a:rPr lang="ru-RU" sz="700" b="1" i="1" u="sng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рыарқа</a:t>
            </a:r>
            <a:r>
              <a:rPr lang="ru-RU" sz="700" b="1" i="1" u="sng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)</a:t>
            </a:r>
            <a:endParaRPr lang="ru-RU" sz="700" b="1" i="1" u="sng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8" name="Соединительная линия уступом 87"/>
          <p:cNvCxnSpPr>
            <a:stCxn id="270" idx="6"/>
          </p:cNvCxnSpPr>
          <p:nvPr/>
        </p:nvCxnSpPr>
        <p:spPr>
          <a:xfrm flipV="1">
            <a:off x="5641102" y="1856271"/>
            <a:ext cx="33522" cy="388191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Box 88"/>
          <p:cNvSpPr txBox="1"/>
          <p:nvPr/>
        </p:nvSpPr>
        <p:spPr>
          <a:xfrm>
            <a:off x="4791690" y="1579688"/>
            <a:ext cx="11159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i="1" u="sng" dirty="0">
                <a:latin typeface="Arial" panose="020B0604020202020204" pitchFamily="34" charset="0"/>
                <a:cs typeface="Arial" panose="020B0604020202020204" pitchFamily="34" charset="0"/>
              </a:rPr>
              <a:t>г</a:t>
            </a:r>
            <a:r>
              <a:rPr lang="ru-RU" sz="8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800" b="1" i="1" u="sng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Нур</a:t>
            </a:r>
            <a:r>
              <a:rPr lang="ru-RU" sz="8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-Султан</a:t>
            </a:r>
            <a:r>
              <a:rPr lang="en-US" sz="8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700" b="1" i="1" u="sng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700" b="1" i="1" u="sng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ЭЗ «Астана-новый город»; </a:t>
            </a:r>
            <a:r>
              <a:rPr lang="ru-RU" sz="700" b="1" i="1" u="sng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700" b="1" i="1" u="sng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700" b="1" i="1" u="sng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ЭЗ </a:t>
            </a:r>
            <a:r>
              <a:rPr lang="ru-RU" sz="700" b="1" i="1" u="sng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Астана-</a:t>
            </a:r>
            <a:r>
              <a:rPr lang="ru-RU" sz="700" b="1" i="1" u="sng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ополис</a:t>
            </a:r>
            <a:r>
              <a:rPr lang="ru-RU" sz="700" b="1" i="1" u="sng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r>
              <a:rPr lang="en-US" sz="700" b="1" i="1" u="sng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sz="700" b="1" i="1" u="sng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53" name="Схема 152"/>
          <p:cNvGraphicFramePr/>
          <p:nvPr>
            <p:extLst>
              <p:ext uri="{D42A27DB-BD31-4B8C-83A1-F6EECF244321}">
                <p14:modId xmlns:p14="http://schemas.microsoft.com/office/powerpoint/2010/main" val="3430117330"/>
              </p:ext>
            </p:extLst>
          </p:nvPr>
        </p:nvGraphicFramePr>
        <p:xfrm>
          <a:off x="4630508" y="2245885"/>
          <a:ext cx="2088232" cy="5760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aphicFrame>
        <p:nvGraphicFramePr>
          <p:cNvPr id="156" name="Схема 155"/>
          <p:cNvGraphicFramePr/>
          <p:nvPr>
            <p:extLst>
              <p:ext uri="{D42A27DB-BD31-4B8C-83A1-F6EECF244321}">
                <p14:modId xmlns:p14="http://schemas.microsoft.com/office/powerpoint/2010/main" val="2477825566"/>
              </p:ext>
            </p:extLst>
          </p:nvPr>
        </p:nvGraphicFramePr>
        <p:xfrm>
          <a:off x="7393707" y="1349905"/>
          <a:ext cx="2088232" cy="5760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sp>
        <p:nvSpPr>
          <p:cNvPr id="157" name="TextBox 156"/>
          <p:cNvSpPr txBox="1"/>
          <p:nvPr/>
        </p:nvSpPr>
        <p:spPr>
          <a:xfrm>
            <a:off x="7693657" y="908720"/>
            <a:ext cx="12105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Павлодарская </a:t>
            </a:r>
            <a:r>
              <a:rPr lang="ru-RU" sz="800" b="1" i="1" u="sng" dirty="0">
                <a:latin typeface="Arial" panose="020B0604020202020204" pitchFamily="34" charset="0"/>
                <a:cs typeface="Arial" panose="020B0604020202020204" pitchFamily="34" charset="0"/>
              </a:rPr>
              <a:t>область </a:t>
            </a:r>
            <a:r>
              <a:rPr lang="ru-RU" sz="8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8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700" b="1" i="1" u="sng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700" b="1" i="1" u="sng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ЭЗ «Павлодар»)</a:t>
            </a:r>
          </a:p>
        </p:txBody>
      </p:sp>
      <p:graphicFrame>
        <p:nvGraphicFramePr>
          <p:cNvPr id="159" name="Схема 158"/>
          <p:cNvGraphicFramePr/>
          <p:nvPr>
            <p:extLst>
              <p:ext uri="{D42A27DB-BD31-4B8C-83A1-F6EECF244321}">
                <p14:modId xmlns:p14="http://schemas.microsoft.com/office/powerpoint/2010/main" val="1212345060"/>
              </p:ext>
            </p:extLst>
          </p:nvPr>
        </p:nvGraphicFramePr>
        <p:xfrm>
          <a:off x="6893470" y="2526338"/>
          <a:ext cx="2088232" cy="5760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8" r:lo="rId29" r:qs="rId30" r:cs="rId31"/>
          </a:graphicData>
        </a:graphic>
      </p:graphicFrame>
      <p:sp>
        <p:nvSpPr>
          <p:cNvPr id="160" name="TextBox 159"/>
          <p:cNvSpPr txBox="1"/>
          <p:nvPr/>
        </p:nvSpPr>
        <p:spPr>
          <a:xfrm>
            <a:off x="7134807" y="2159679"/>
            <a:ext cx="15690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Восточно-Казахстанская область</a:t>
            </a:r>
            <a:endParaRPr lang="ru-RU" sz="800" b="1" i="1" u="sng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61" name="Схема 160"/>
          <p:cNvGraphicFramePr/>
          <p:nvPr>
            <p:extLst>
              <p:ext uri="{D42A27DB-BD31-4B8C-83A1-F6EECF244321}">
                <p14:modId xmlns:p14="http://schemas.microsoft.com/office/powerpoint/2010/main" val="3593437706"/>
              </p:ext>
            </p:extLst>
          </p:nvPr>
        </p:nvGraphicFramePr>
        <p:xfrm>
          <a:off x="5716754" y="916921"/>
          <a:ext cx="2088232" cy="5760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3" r:lo="rId34" r:qs="rId35" r:cs="rId36"/>
          </a:graphicData>
        </a:graphic>
      </p:graphicFrame>
      <p:sp>
        <p:nvSpPr>
          <p:cNvPr id="162" name="TextBox 161"/>
          <p:cNvSpPr txBox="1"/>
          <p:nvPr/>
        </p:nvSpPr>
        <p:spPr>
          <a:xfrm>
            <a:off x="5760460" y="469800"/>
            <a:ext cx="13923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Северо-Казахстанская область</a:t>
            </a:r>
            <a:r>
              <a:rPr lang="en-US" sz="8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8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8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700" b="1" i="1" u="sng" dirty="0" smtClean="0">
                <a:solidFill>
                  <a:srgbClr val="00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СЭЗ «</a:t>
            </a:r>
            <a:r>
              <a:rPr lang="en-US" sz="700" b="1" i="1" u="sng" dirty="0" err="1" smtClean="0">
                <a:solidFill>
                  <a:srgbClr val="00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yzyljar</a:t>
            </a:r>
            <a:r>
              <a:rPr lang="ru-RU" sz="700" b="1" i="1" u="sng" dirty="0" smtClean="0">
                <a:solidFill>
                  <a:srgbClr val="00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)</a:t>
            </a:r>
            <a:endParaRPr lang="ru-RU" sz="700" b="1" i="1" u="sng" dirty="0">
              <a:solidFill>
                <a:srgbClr val="00CC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63" name="Соединительная линия уступом 162"/>
          <p:cNvCxnSpPr>
            <a:endCxn id="157" idx="1"/>
          </p:cNvCxnSpPr>
          <p:nvPr/>
        </p:nvCxnSpPr>
        <p:spPr>
          <a:xfrm flipV="1">
            <a:off x="6796417" y="1139553"/>
            <a:ext cx="897240" cy="438726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67" name="Схема 166"/>
          <p:cNvGraphicFramePr/>
          <p:nvPr>
            <p:extLst>
              <p:ext uri="{D42A27DB-BD31-4B8C-83A1-F6EECF244321}">
                <p14:modId xmlns:p14="http://schemas.microsoft.com/office/powerpoint/2010/main" val="3380165875"/>
              </p:ext>
            </p:extLst>
          </p:nvPr>
        </p:nvGraphicFramePr>
        <p:xfrm>
          <a:off x="186424" y="1328190"/>
          <a:ext cx="2088232" cy="5760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8" r:lo="rId39" r:qs="rId40" r:cs="rId41"/>
          </a:graphicData>
        </a:graphic>
      </p:graphicFrame>
      <p:sp>
        <p:nvSpPr>
          <p:cNvPr id="168" name="TextBox 167"/>
          <p:cNvSpPr txBox="1"/>
          <p:nvPr/>
        </p:nvSpPr>
        <p:spPr>
          <a:xfrm>
            <a:off x="427760" y="961531"/>
            <a:ext cx="15087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Западно-Казахстанская область</a:t>
            </a:r>
            <a:endParaRPr lang="ru-RU" sz="800" b="1" i="1" u="sng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64" name="Соединительная линия уступом 163"/>
          <p:cNvCxnSpPr>
            <a:endCxn id="160" idx="2"/>
          </p:cNvCxnSpPr>
          <p:nvPr/>
        </p:nvCxnSpPr>
        <p:spPr>
          <a:xfrm rot="16200000" flipV="1">
            <a:off x="8139950" y="2277628"/>
            <a:ext cx="106829" cy="548040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4" name="Схема 173"/>
          <p:cNvGraphicFramePr/>
          <p:nvPr>
            <p:extLst>
              <p:ext uri="{D42A27DB-BD31-4B8C-83A1-F6EECF244321}">
                <p14:modId xmlns:p14="http://schemas.microsoft.com/office/powerpoint/2010/main" val="343392645"/>
              </p:ext>
            </p:extLst>
          </p:nvPr>
        </p:nvGraphicFramePr>
        <p:xfrm>
          <a:off x="6397091" y="4397468"/>
          <a:ext cx="2088232" cy="5760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3" r:lo="rId44" r:qs="rId45" r:cs="rId46"/>
          </a:graphicData>
        </a:graphic>
      </p:graphicFrame>
      <p:sp>
        <p:nvSpPr>
          <p:cNvPr id="175" name="TextBox 174"/>
          <p:cNvSpPr txBox="1"/>
          <p:nvPr/>
        </p:nvSpPr>
        <p:spPr>
          <a:xfrm>
            <a:off x="6358238" y="3701591"/>
            <a:ext cx="1214874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i="1" u="sng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Алматинская</a:t>
            </a:r>
            <a:r>
              <a:rPr lang="ru-RU" sz="8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 область</a:t>
            </a:r>
            <a:r>
              <a:rPr lang="en-US" sz="8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US" sz="8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b="1" i="1" u="sng" dirty="0" smtClean="0">
                <a:solidFill>
                  <a:srgbClr val="00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700" b="1" i="1" u="sng" dirty="0">
                <a:solidFill>
                  <a:srgbClr val="00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ЭЗ «Хоргос – Восточные ворота</a:t>
            </a:r>
            <a:r>
              <a:rPr lang="ru-RU" sz="700" b="1" i="1" u="sng" dirty="0" smtClean="0">
                <a:solidFill>
                  <a:srgbClr val="00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; </a:t>
            </a:r>
            <a:r>
              <a:rPr lang="ru-RU" sz="700" b="1" i="1" u="sng" dirty="0">
                <a:solidFill>
                  <a:srgbClr val="00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ЭЗ «МЦПС «Хоргос»</a:t>
            </a:r>
            <a:r>
              <a:rPr lang="en-US" sz="700" b="1" i="1" u="sng" dirty="0" smtClean="0">
                <a:solidFill>
                  <a:srgbClr val="00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sz="700" b="1" i="1" u="sng" dirty="0">
              <a:solidFill>
                <a:srgbClr val="00CC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69" name="Соединительная линия уступом 168"/>
          <p:cNvCxnSpPr/>
          <p:nvPr/>
        </p:nvCxnSpPr>
        <p:spPr>
          <a:xfrm rot="16200000" flipV="1">
            <a:off x="7334821" y="3970962"/>
            <a:ext cx="87681" cy="373358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8" name="Схема 177"/>
          <p:cNvGraphicFramePr/>
          <p:nvPr>
            <p:extLst>
              <p:ext uri="{D42A27DB-BD31-4B8C-83A1-F6EECF244321}">
                <p14:modId xmlns:p14="http://schemas.microsoft.com/office/powerpoint/2010/main" val="3616169753"/>
              </p:ext>
            </p:extLst>
          </p:nvPr>
        </p:nvGraphicFramePr>
        <p:xfrm>
          <a:off x="7181360" y="5659587"/>
          <a:ext cx="2088232" cy="6777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8" r:lo="rId49" r:qs="rId50" r:cs="rId51"/>
          </a:graphicData>
        </a:graphic>
      </p:graphicFrame>
      <p:sp>
        <p:nvSpPr>
          <p:cNvPr id="181" name="TextBox 180"/>
          <p:cNvSpPr txBox="1"/>
          <p:nvPr/>
        </p:nvSpPr>
        <p:spPr>
          <a:xfrm>
            <a:off x="7459362" y="5096201"/>
            <a:ext cx="1210548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i="1" u="sng" dirty="0">
                <a:latin typeface="Arial" panose="020B0604020202020204" pitchFamily="34" charset="0"/>
                <a:cs typeface="Arial" panose="020B0604020202020204" pitchFamily="34" charset="0"/>
              </a:rPr>
              <a:t>г</a:t>
            </a:r>
            <a:r>
              <a:rPr lang="ru-RU" sz="8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800" b="1" i="1" u="sng" dirty="0">
                <a:latin typeface="Arial" panose="020B0604020202020204" pitchFamily="34" charset="0"/>
                <a:cs typeface="Arial" panose="020B0604020202020204" pitchFamily="34" charset="0"/>
              </a:rPr>
              <a:t>Алматы </a:t>
            </a:r>
            <a:r>
              <a:rPr lang="ru-RU" sz="8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8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700" b="1" i="1" u="sng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СЭЗ </a:t>
            </a:r>
            <a:r>
              <a:rPr lang="ru-RU" sz="700" b="1" i="1" u="sng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Парк инновационных технологий» ) </a:t>
            </a:r>
          </a:p>
        </p:txBody>
      </p:sp>
      <p:cxnSp>
        <p:nvCxnSpPr>
          <p:cNvPr id="177" name="Соединительная линия уступом 176"/>
          <p:cNvCxnSpPr/>
          <p:nvPr/>
        </p:nvCxnSpPr>
        <p:spPr>
          <a:xfrm rot="16200000" flipH="1">
            <a:off x="7101138" y="5020550"/>
            <a:ext cx="481273" cy="301349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Соединительная линия уступом 184"/>
          <p:cNvCxnSpPr>
            <a:stCxn id="267" idx="2"/>
            <a:endCxn id="146" idx="0"/>
          </p:cNvCxnSpPr>
          <p:nvPr/>
        </p:nvCxnSpPr>
        <p:spPr>
          <a:xfrm rot="10800000" flipH="1" flipV="1">
            <a:off x="6290566" y="2656990"/>
            <a:ext cx="76241" cy="267954"/>
          </a:xfrm>
          <a:prstGeom prst="bentConnector4">
            <a:avLst>
              <a:gd name="adj1" fmla="val -299839"/>
              <a:gd name="adj2" fmla="val 60514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88" name="Схема 187"/>
          <p:cNvGraphicFramePr/>
          <p:nvPr>
            <p:extLst>
              <p:ext uri="{D42A27DB-BD31-4B8C-83A1-F6EECF244321}">
                <p14:modId xmlns:p14="http://schemas.microsoft.com/office/powerpoint/2010/main" val="3074843244"/>
              </p:ext>
            </p:extLst>
          </p:nvPr>
        </p:nvGraphicFramePr>
        <p:xfrm>
          <a:off x="5423152" y="5834019"/>
          <a:ext cx="2088232" cy="5760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3" r:lo="rId54" r:qs="rId55" r:cs="rId56"/>
          </a:graphicData>
        </a:graphic>
      </p:graphicFrame>
      <p:sp>
        <p:nvSpPr>
          <p:cNvPr id="189" name="TextBox 188"/>
          <p:cNvSpPr txBox="1"/>
          <p:nvPr/>
        </p:nvSpPr>
        <p:spPr>
          <a:xfrm>
            <a:off x="5736666" y="5311554"/>
            <a:ext cx="103977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i="1" u="sng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Жамбылская</a:t>
            </a:r>
            <a:r>
              <a:rPr lang="ru-RU" sz="8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b="1" i="1" u="sng" dirty="0">
                <a:latin typeface="Arial" panose="020B0604020202020204" pitchFamily="34" charset="0"/>
                <a:cs typeface="Arial" panose="020B0604020202020204" pitchFamily="34" charset="0"/>
              </a:rPr>
              <a:t>область </a:t>
            </a:r>
            <a:r>
              <a:rPr lang="ru-RU" sz="8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8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700" b="1" i="1" u="sng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700" b="1" i="1" u="sng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ЭЗ «Химический парк </a:t>
            </a:r>
            <a:r>
              <a:rPr lang="ru-RU" sz="700" b="1" i="1" u="sng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раз</a:t>
            </a:r>
            <a:r>
              <a:rPr lang="ru-RU" sz="700" b="1" i="1" u="sng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)</a:t>
            </a:r>
          </a:p>
        </p:txBody>
      </p:sp>
      <p:graphicFrame>
        <p:nvGraphicFramePr>
          <p:cNvPr id="194" name="Схема 193"/>
          <p:cNvGraphicFramePr/>
          <p:nvPr>
            <p:extLst>
              <p:ext uri="{D42A27DB-BD31-4B8C-83A1-F6EECF244321}">
                <p14:modId xmlns:p14="http://schemas.microsoft.com/office/powerpoint/2010/main" val="651672654"/>
              </p:ext>
            </p:extLst>
          </p:nvPr>
        </p:nvGraphicFramePr>
        <p:xfrm>
          <a:off x="4427344" y="3509178"/>
          <a:ext cx="2088232" cy="5760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8" r:lo="rId59" r:qs="rId60" r:cs="rId61"/>
          </a:graphicData>
        </a:graphic>
      </p:graphicFrame>
      <p:sp>
        <p:nvSpPr>
          <p:cNvPr id="195" name="TextBox 194"/>
          <p:cNvSpPr txBox="1"/>
          <p:nvPr/>
        </p:nvSpPr>
        <p:spPr>
          <a:xfrm>
            <a:off x="4543528" y="3052931"/>
            <a:ext cx="1005616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Туркестанская область </a:t>
            </a:r>
            <a:r>
              <a:rPr lang="en-US" sz="8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8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700" b="1" i="1" u="sng" dirty="0" smtClean="0">
                <a:solidFill>
                  <a:srgbClr val="00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СЭЗ «</a:t>
            </a:r>
            <a:r>
              <a:rPr lang="en-US" sz="700" b="1" i="1" u="sng" dirty="0" smtClean="0">
                <a:solidFill>
                  <a:srgbClr val="00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rkistan</a:t>
            </a:r>
            <a:r>
              <a:rPr lang="ru-RU" sz="700" b="1" i="1" u="sng" dirty="0" smtClean="0">
                <a:solidFill>
                  <a:srgbClr val="00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)</a:t>
            </a:r>
            <a:endParaRPr lang="ru-RU" sz="700" b="1" i="1" u="sng" dirty="0">
              <a:solidFill>
                <a:srgbClr val="00CC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2" name="Овал 201"/>
          <p:cNvSpPr/>
          <p:nvPr/>
        </p:nvSpPr>
        <p:spPr>
          <a:xfrm>
            <a:off x="4904699" y="5152099"/>
            <a:ext cx="128037" cy="10772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04" name="Соединительная линия уступом 203"/>
          <p:cNvCxnSpPr>
            <a:stCxn id="202" idx="3"/>
            <a:endCxn id="195" idx="3"/>
          </p:cNvCxnSpPr>
          <p:nvPr/>
        </p:nvCxnSpPr>
        <p:spPr>
          <a:xfrm rot="5400000" flipH="1" flipV="1">
            <a:off x="4252309" y="3947210"/>
            <a:ext cx="1967976" cy="625694"/>
          </a:xfrm>
          <a:prstGeom prst="bentConnector4">
            <a:avLst>
              <a:gd name="adj1" fmla="val -12418"/>
              <a:gd name="adj2" fmla="val 136535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07" name="Схема 206"/>
          <p:cNvGraphicFramePr/>
          <p:nvPr>
            <p:extLst>
              <p:ext uri="{D42A27DB-BD31-4B8C-83A1-F6EECF244321}">
                <p14:modId xmlns:p14="http://schemas.microsoft.com/office/powerpoint/2010/main" val="213945759"/>
              </p:ext>
            </p:extLst>
          </p:nvPr>
        </p:nvGraphicFramePr>
        <p:xfrm>
          <a:off x="3851920" y="6147613"/>
          <a:ext cx="2088232" cy="5937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3" r:lo="rId64" r:qs="rId65" r:cs="rId66"/>
          </a:graphicData>
        </a:graphic>
      </p:graphicFrame>
      <p:sp>
        <p:nvSpPr>
          <p:cNvPr id="208" name="TextBox 207"/>
          <p:cNvSpPr txBox="1"/>
          <p:nvPr/>
        </p:nvSpPr>
        <p:spPr>
          <a:xfrm>
            <a:off x="3887925" y="5845557"/>
            <a:ext cx="13047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i="1" u="sng" dirty="0">
                <a:latin typeface="Arial" panose="020B0604020202020204" pitchFamily="34" charset="0"/>
                <a:cs typeface="Arial" panose="020B0604020202020204" pitchFamily="34" charset="0"/>
              </a:rPr>
              <a:t>г</a:t>
            </a:r>
            <a:r>
              <a:rPr lang="ru-RU" sz="8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800" b="1" i="1" u="sng" dirty="0">
                <a:latin typeface="Arial" panose="020B0604020202020204" pitchFamily="34" charset="0"/>
                <a:cs typeface="Arial" panose="020B0604020202020204" pitchFamily="34" charset="0"/>
              </a:rPr>
              <a:t>Шымкент </a:t>
            </a:r>
            <a:r>
              <a:rPr lang="ru-RU" sz="8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8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800" b="1" i="1" u="sng" dirty="0" smtClean="0">
                <a:solidFill>
                  <a:srgbClr val="00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700" b="1" i="1" u="sng" dirty="0" smtClean="0">
                <a:solidFill>
                  <a:srgbClr val="00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ЭЗ </a:t>
            </a:r>
            <a:r>
              <a:rPr lang="ru-RU" sz="700" b="1" i="1" u="sng" dirty="0">
                <a:solidFill>
                  <a:srgbClr val="00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700" b="1" i="1" u="sng" dirty="0" err="1">
                <a:solidFill>
                  <a:srgbClr val="00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ңтүстік</a:t>
            </a:r>
            <a:r>
              <a:rPr lang="ru-RU" sz="700" b="1" i="1" u="sng" dirty="0" smtClean="0">
                <a:solidFill>
                  <a:srgbClr val="00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) </a:t>
            </a:r>
            <a:endParaRPr lang="ru-RU" sz="800" b="1" i="1" u="sng" dirty="0">
              <a:solidFill>
                <a:srgbClr val="00CC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1" name="Соединительная линия уступом 210"/>
          <p:cNvCxnSpPr/>
          <p:nvPr/>
        </p:nvCxnSpPr>
        <p:spPr>
          <a:xfrm rot="10800000" flipV="1">
            <a:off x="4493994" y="5547060"/>
            <a:ext cx="532187" cy="327484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13" name="Схема 212"/>
          <p:cNvGraphicFramePr/>
          <p:nvPr>
            <p:extLst>
              <p:ext uri="{D42A27DB-BD31-4B8C-83A1-F6EECF244321}">
                <p14:modId xmlns:p14="http://schemas.microsoft.com/office/powerpoint/2010/main" val="3491715951"/>
              </p:ext>
            </p:extLst>
          </p:nvPr>
        </p:nvGraphicFramePr>
        <p:xfrm>
          <a:off x="2801273" y="4069334"/>
          <a:ext cx="2088232" cy="5760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8" r:lo="rId69" r:qs="rId70" r:cs="rId71"/>
          </a:graphicData>
        </a:graphic>
      </p:graphicFrame>
      <p:sp>
        <p:nvSpPr>
          <p:cNvPr id="214" name="TextBox 213"/>
          <p:cNvSpPr txBox="1"/>
          <p:nvPr/>
        </p:nvSpPr>
        <p:spPr>
          <a:xfrm>
            <a:off x="3042610" y="3702675"/>
            <a:ext cx="10986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i="1" u="sng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Кызылординская</a:t>
            </a:r>
            <a:r>
              <a:rPr lang="ru-RU" sz="8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 область</a:t>
            </a:r>
            <a:endParaRPr lang="ru-RU" sz="800" b="1" i="1" u="sng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8" name="Соединительная линия уступом 217"/>
          <p:cNvCxnSpPr>
            <a:endCxn id="214" idx="3"/>
          </p:cNvCxnSpPr>
          <p:nvPr/>
        </p:nvCxnSpPr>
        <p:spPr>
          <a:xfrm rot="5400000" flipH="1" flipV="1">
            <a:off x="3724017" y="4061318"/>
            <a:ext cx="606572" cy="227840"/>
          </a:xfrm>
          <a:prstGeom prst="bentConnector4">
            <a:avLst>
              <a:gd name="adj1" fmla="val 34595"/>
              <a:gd name="adj2" fmla="val 150167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27" name="Схема 226"/>
          <p:cNvGraphicFramePr/>
          <p:nvPr>
            <p:extLst>
              <p:ext uri="{D42A27DB-BD31-4B8C-83A1-F6EECF244321}">
                <p14:modId xmlns:p14="http://schemas.microsoft.com/office/powerpoint/2010/main" val="2405373988"/>
              </p:ext>
            </p:extLst>
          </p:nvPr>
        </p:nvGraphicFramePr>
        <p:xfrm>
          <a:off x="1718059" y="5045820"/>
          <a:ext cx="2088232" cy="5760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3" r:lo="rId74" r:qs="rId75" r:cs="rId76"/>
          </a:graphicData>
        </a:graphic>
      </p:graphicFrame>
      <p:sp>
        <p:nvSpPr>
          <p:cNvPr id="228" name="TextBox 227"/>
          <p:cNvSpPr txBox="1"/>
          <p:nvPr/>
        </p:nvSpPr>
        <p:spPr>
          <a:xfrm>
            <a:off x="1959940" y="4584155"/>
            <a:ext cx="14586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i="1" u="sng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Мангистауская</a:t>
            </a:r>
            <a:r>
              <a:rPr lang="ru-RU" sz="8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 область</a:t>
            </a:r>
            <a:r>
              <a:rPr lang="en-US" sz="8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US" sz="8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700" b="1" i="1" u="sng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700" b="1" i="1" u="sng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ЭЗ </a:t>
            </a:r>
            <a:r>
              <a:rPr lang="ru-RU" sz="700" b="1" i="1" u="sng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700" b="1" i="1" u="sng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рпорт</a:t>
            </a:r>
            <a:r>
              <a:rPr lang="ru-RU" sz="700" b="1" i="1" u="sng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ктау</a:t>
            </a:r>
            <a:r>
              <a:rPr lang="ru-RU" sz="700" b="1" i="1" u="sng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r>
              <a:rPr lang="en-US" sz="800" b="1" i="1" u="sng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sz="800" b="1" i="1" u="sng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31" name="Соединительная линия уступом 230"/>
          <p:cNvCxnSpPr>
            <a:stCxn id="261" idx="0"/>
            <a:endCxn id="228" idx="0"/>
          </p:cNvCxnSpPr>
          <p:nvPr/>
        </p:nvCxnSpPr>
        <p:spPr>
          <a:xfrm rot="16200000" flipH="1">
            <a:off x="1828040" y="3722929"/>
            <a:ext cx="8851" cy="1713601"/>
          </a:xfrm>
          <a:prstGeom prst="bentConnector3">
            <a:avLst>
              <a:gd name="adj1" fmla="val -2582759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35" name="Схема 234"/>
          <p:cNvGraphicFramePr/>
          <p:nvPr>
            <p:extLst>
              <p:ext uri="{D42A27DB-BD31-4B8C-83A1-F6EECF244321}">
                <p14:modId xmlns:p14="http://schemas.microsoft.com/office/powerpoint/2010/main" val="671509148"/>
              </p:ext>
            </p:extLst>
          </p:nvPr>
        </p:nvGraphicFramePr>
        <p:xfrm>
          <a:off x="1172584" y="3165246"/>
          <a:ext cx="2088232" cy="5760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8" r:lo="rId79" r:qs="rId80" r:cs="rId81"/>
          </a:graphicData>
        </a:graphic>
      </p:graphicFrame>
      <p:sp>
        <p:nvSpPr>
          <p:cNvPr id="236" name="TextBox 235"/>
          <p:cNvSpPr txBox="1"/>
          <p:nvPr/>
        </p:nvSpPr>
        <p:spPr>
          <a:xfrm>
            <a:off x="1204141" y="2782582"/>
            <a:ext cx="9360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i="1" u="sng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Атырауская</a:t>
            </a:r>
            <a:r>
              <a:rPr lang="ru-RU" sz="8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 область</a:t>
            </a:r>
            <a:r>
              <a:rPr lang="en-US" sz="8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US" sz="8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700" b="1" i="1" u="sng" dirty="0" smtClean="0">
                <a:solidFill>
                  <a:srgbClr val="00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700" b="1" i="1" u="sng" dirty="0">
                <a:solidFill>
                  <a:srgbClr val="00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ЭЗ «НИНТ» </a:t>
            </a:r>
            <a:r>
              <a:rPr lang="en-US" sz="700" b="1" i="1" u="sng" dirty="0" smtClean="0">
                <a:solidFill>
                  <a:srgbClr val="00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sz="700" b="1" i="1" u="sng" dirty="0">
              <a:solidFill>
                <a:srgbClr val="00CC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7" name="Овал 236"/>
          <p:cNvSpPr/>
          <p:nvPr/>
        </p:nvSpPr>
        <p:spPr>
          <a:xfrm>
            <a:off x="921853" y="3140968"/>
            <a:ext cx="129724" cy="9354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39" name="Соединительная линия уступом 238"/>
          <p:cNvCxnSpPr>
            <a:stCxn id="237" idx="0"/>
            <a:endCxn id="236" idx="1"/>
          </p:cNvCxnSpPr>
          <p:nvPr/>
        </p:nvCxnSpPr>
        <p:spPr>
          <a:xfrm rot="5400000" flipH="1" flipV="1">
            <a:off x="1031652" y="2968479"/>
            <a:ext cx="127553" cy="217426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41" name="Схема 240"/>
          <p:cNvGraphicFramePr/>
          <p:nvPr>
            <p:extLst>
              <p:ext uri="{D42A27DB-BD31-4B8C-83A1-F6EECF244321}">
                <p14:modId xmlns:p14="http://schemas.microsoft.com/office/powerpoint/2010/main" val="3696789876"/>
              </p:ext>
            </p:extLst>
          </p:nvPr>
        </p:nvGraphicFramePr>
        <p:xfrm>
          <a:off x="2411760" y="2859555"/>
          <a:ext cx="2088232" cy="5760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3" r:lo="rId84" r:qs="rId85" r:cs="rId86"/>
          </a:graphicData>
        </a:graphic>
      </p:graphicFrame>
      <p:sp>
        <p:nvSpPr>
          <p:cNvPr id="242" name="TextBox 241"/>
          <p:cNvSpPr txBox="1"/>
          <p:nvPr/>
        </p:nvSpPr>
        <p:spPr>
          <a:xfrm>
            <a:off x="2653097" y="2492896"/>
            <a:ext cx="12105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i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Актюбинская область</a:t>
            </a:r>
            <a:endParaRPr lang="ru-RU" sz="800" b="1" i="1" u="sng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45" name="Соединительная линия уступом 244"/>
          <p:cNvCxnSpPr>
            <a:endCxn id="168" idx="2"/>
          </p:cNvCxnSpPr>
          <p:nvPr/>
        </p:nvCxnSpPr>
        <p:spPr>
          <a:xfrm rot="16200000" flipV="1">
            <a:off x="939054" y="1543181"/>
            <a:ext cx="556186" cy="69993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7" name="Овал 246"/>
          <p:cNvSpPr/>
          <p:nvPr/>
        </p:nvSpPr>
        <p:spPr>
          <a:xfrm>
            <a:off x="3775175" y="1300084"/>
            <a:ext cx="112749" cy="11269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49" name="Соединительная линия уступом 248"/>
          <p:cNvCxnSpPr>
            <a:stCxn id="247" idx="6"/>
            <a:endCxn id="83" idx="0"/>
          </p:cNvCxnSpPr>
          <p:nvPr/>
        </p:nvCxnSpPr>
        <p:spPr>
          <a:xfrm flipH="1" flipV="1">
            <a:off x="3240022" y="764704"/>
            <a:ext cx="647902" cy="591726"/>
          </a:xfrm>
          <a:prstGeom prst="bentConnector4">
            <a:avLst>
              <a:gd name="adj1" fmla="val 0"/>
              <a:gd name="adj2" fmla="val 138633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2" name="Овал 251"/>
          <p:cNvSpPr/>
          <p:nvPr/>
        </p:nvSpPr>
        <p:spPr>
          <a:xfrm>
            <a:off x="5145918" y="871475"/>
            <a:ext cx="112749" cy="11269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54" name="Соединительная линия уступом 253"/>
          <p:cNvCxnSpPr>
            <a:stCxn id="252" idx="0"/>
            <a:endCxn id="162" idx="1"/>
          </p:cNvCxnSpPr>
          <p:nvPr/>
        </p:nvCxnSpPr>
        <p:spPr>
          <a:xfrm rot="5400000" flipH="1" flipV="1">
            <a:off x="5395955" y="506971"/>
            <a:ext cx="170842" cy="558167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Соединительная линия уступом 256"/>
          <p:cNvCxnSpPr>
            <a:endCxn id="189" idx="0"/>
          </p:cNvCxnSpPr>
          <p:nvPr/>
        </p:nvCxnSpPr>
        <p:spPr>
          <a:xfrm>
            <a:off x="5966891" y="5035116"/>
            <a:ext cx="289661" cy="276438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0" name="Овал 259"/>
          <p:cNvSpPr/>
          <p:nvPr/>
        </p:nvSpPr>
        <p:spPr>
          <a:xfrm>
            <a:off x="1195769" y="1867743"/>
            <a:ext cx="112749" cy="11269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1" name="Овал 260"/>
          <p:cNvSpPr/>
          <p:nvPr/>
        </p:nvSpPr>
        <p:spPr>
          <a:xfrm>
            <a:off x="919291" y="4575304"/>
            <a:ext cx="112749" cy="11269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2" name="Овал 261"/>
          <p:cNvSpPr/>
          <p:nvPr/>
        </p:nvSpPr>
        <p:spPr>
          <a:xfrm>
            <a:off x="3847831" y="4479894"/>
            <a:ext cx="112749" cy="11269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3" name="Овал 262"/>
          <p:cNvSpPr/>
          <p:nvPr/>
        </p:nvSpPr>
        <p:spPr>
          <a:xfrm>
            <a:off x="5851284" y="4919938"/>
            <a:ext cx="112749" cy="11269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4" name="Овал 263"/>
          <p:cNvSpPr/>
          <p:nvPr/>
        </p:nvSpPr>
        <p:spPr>
          <a:xfrm>
            <a:off x="5058334" y="5493962"/>
            <a:ext cx="160415" cy="16562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5" name="Овал 264"/>
          <p:cNvSpPr/>
          <p:nvPr/>
        </p:nvSpPr>
        <p:spPr>
          <a:xfrm>
            <a:off x="7508965" y="4219096"/>
            <a:ext cx="112749" cy="11269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6" name="Овал 265"/>
          <p:cNvSpPr/>
          <p:nvPr/>
        </p:nvSpPr>
        <p:spPr>
          <a:xfrm>
            <a:off x="7181360" y="4867004"/>
            <a:ext cx="160415" cy="16562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7" name="Овал 266"/>
          <p:cNvSpPr/>
          <p:nvPr/>
        </p:nvSpPr>
        <p:spPr>
          <a:xfrm>
            <a:off x="6290567" y="2600644"/>
            <a:ext cx="112749" cy="11269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8" name="Овал 267"/>
          <p:cNvSpPr/>
          <p:nvPr/>
        </p:nvSpPr>
        <p:spPr>
          <a:xfrm>
            <a:off x="8411963" y="2603327"/>
            <a:ext cx="112749" cy="11269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9" name="Овал 268"/>
          <p:cNvSpPr/>
          <p:nvPr/>
        </p:nvSpPr>
        <p:spPr>
          <a:xfrm>
            <a:off x="6648121" y="1497373"/>
            <a:ext cx="112749" cy="11269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0" name="Овал 269"/>
          <p:cNvSpPr/>
          <p:nvPr/>
        </p:nvSpPr>
        <p:spPr>
          <a:xfrm>
            <a:off x="5480687" y="2161649"/>
            <a:ext cx="160415" cy="16562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4" name="Овал 273"/>
          <p:cNvSpPr/>
          <p:nvPr/>
        </p:nvSpPr>
        <p:spPr>
          <a:xfrm>
            <a:off x="5079943" y="1391150"/>
            <a:ext cx="112749" cy="11269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78" name="Соединительная линия уступом 277"/>
          <p:cNvCxnSpPr>
            <a:stCxn id="274" idx="0"/>
            <a:endCxn id="144" idx="0"/>
          </p:cNvCxnSpPr>
          <p:nvPr/>
        </p:nvCxnSpPr>
        <p:spPr>
          <a:xfrm rot="16200000" flipH="1" flipV="1">
            <a:off x="4598662" y="1040622"/>
            <a:ext cx="187128" cy="888184"/>
          </a:xfrm>
          <a:prstGeom prst="bentConnector3">
            <a:avLst>
              <a:gd name="adj1" fmla="val -122162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90" name="Схема 289"/>
          <p:cNvGraphicFramePr/>
          <p:nvPr>
            <p:extLst>
              <p:ext uri="{D42A27DB-BD31-4B8C-83A1-F6EECF244321}">
                <p14:modId xmlns:p14="http://schemas.microsoft.com/office/powerpoint/2010/main" val="1636159951"/>
              </p:ext>
            </p:extLst>
          </p:nvPr>
        </p:nvGraphicFramePr>
        <p:xfrm>
          <a:off x="213740" y="6021288"/>
          <a:ext cx="2558060" cy="7920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8" r:lo="rId89" r:qs="rId90" r:cs="rId91"/>
          </a:graphicData>
        </a:graphic>
      </p:graphicFrame>
      <p:sp>
        <p:nvSpPr>
          <p:cNvPr id="292" name="Овал 291"/>
          <p:cNvSpPr/>
          <p:nvPr/>
        </p:nvSpPr>
        <p:spPr>
          <a:xfrm>
            <a:off x="2291870" y="2348469"/>
            <a:ext cx="112749" cy="11269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94" name="Соединительная линия уступом 293"/>
          <p:cNvCxnSpPr>
            <a:stCxn id="292" idx="4"/>
            <a:endCxn id="242" idx="1"/>
          </p:cNvCxnSpPr>
          <p:nvPr/>
        </p:nvCxnSpPr>
        <p:spPr>
          <a:xfrm rot="16200000" flipH="1">
            <a:off x="2400165" y="2409241"/>
            <a:ext cx="201012" cy="304852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0" name="Прямоугольник 299"/>
          <p:cNvSpPr/>
          <p:nvPr/>
        </p:nvSpPr>
        <p:spPr>
          <a:xfrm>
            <a:off x="0" y="44625"/>
            <a:ext cx="9144000" cy="43204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ctr"/>
          <a:lstStyle/>
          <a:p>
            <a:pPr algn="ctr"/>
            <a:endParaRPr lang="ru-RU"/>
          </a:p>
        </p:txBody>
      </p:sp>
      <p:sp>
        <p:nvSpPr>
          <p:cNvPr id="302" name="Прямоугольник 301"/>
          <p:cNvSpPr/>
          <p:nvPr/>
        </p:nvSpPr>
        <p:spPr>
          <a:xfrm>
            <a:off x="746153" y="116632"/>
            <a:ext cx="807217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КАРТА СЭЗ И ТАРИФОВ В РАЗРЕЗЕ РЕГИОНОВ </a:t>
            </a:r>
            <a:endParaRPr lang="ru-RU" sz="1600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2239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44625"/>
            <a:ext cx="9144000" cy="43204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ctr"/>
          <a:lstStyle/>
          <a:p>
            <a:pPr algn="ctr"/>
            <a:r>
              <a:rPr lang="ru-RU" b="1" dirty="0" smtClean="0"/>
              <a:t>ТРАНЗИТНЫЕ РАССТОЯНИЯ ЖЕЛЕЗНОЙ ДОРОГИ КАЗАХСТАНА (КМ)</a:t>
            </a:r>
            <a:endParaRPr lang="ru-RU" b="1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6316396"/>
              </p:ext>
            </p:extLst>
          </p:nvPr>
        </p:nvGraphicFramePr>
        <p:xfrm>
          <a:off x="251520" y="548686"/>
          <a:ext cx="8712967" cy="59721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296144"/>
                <a:gridCol w="936104"/>
                <a:gridCol w="929166"/>
                <a:gridCol w="996225"/>
                <a:gridCol w="711017"/>
                <a:gridCol w="675960"/>
                <a:gridCol w="748082"/>
                <a:gridCol w="712021"/>
                <a:gridCol w="853623"/>
                <a:gridCol w="854625"/>
              </a:tblGrid>
              <a:tr h="32803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 </a:t>
                      </a:r>
                      <a:endParaRPr lang="ru-RU" sz="14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</a:rPr>
                        <a:t>Азербайджан</a:t>
                      </a:r>
                      <a:endParaRPr lang="ru-RU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</a:rPr>
                        <a:t>Армения</a:t>
                      </a:r>
                      <a:endParaRPr lang="ru-RU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</a:rPr>
                        <a:t>Беларусь</a:t>
                      </a:r>
                      <a:endParaRPr lang="ru-RU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</a:rPr>
                        <a:t>Иран</a:t>
                      </a:r>
                      <a:endParaRPr lang="ru-RU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</a:rPr>
                        <a:t>Китай</a:t>
                      </a:r>
                      <a:endParaRPr lang="ru-RU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</a:rPr>
                        <a:t>Кыргызстан</a:t>
                      </a:r>
                      <a:endParaRPr lang="ru-RU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</a:rPr>
                        <a:t>Россия</a:t>
                      </a:r>
                      <a:endParaRPr lang="ru-RU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</a:rPr>
                        <a:t>Туркменистан</a:t>
                      </a:r>
                      <a:endParaRPr lang="ru-RU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</a:rPr>
                        <a:t>Узбекистан</a:t>
                      </a:r>
                      <a:endParaRPr lang="ru-RU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32803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err="1">
                          <a:effectLst/>
                        </a:rPr>
                        <a:t>Нур</a:t>
                      </a:r>
                      <a:r>
                        <a:rPr lang="ru-RU" sz="1000" b="1" dirty="0">
                          <a:effectLst/>
                        </a:rPr>
                        <a:t>-Султан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3079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4246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3583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3798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1645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138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1129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2725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1534,5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32803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</a:rPr>
                        <a:t>Алматы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4247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5355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5037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960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125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762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452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3450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045,5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32803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</a:rPr>
                        <a:t>Шымкент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3222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4330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3989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284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562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530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122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420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769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32803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err="1">
                          <a:effectLst/>
                        </a:rPr>
                        <a:t>Акмолинская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2904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4071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3662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3748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191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792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194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564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117,5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32803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err="1">
                          <a:effectLst/>
                        </a:rPr>
                        <a:t>Алматинская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4215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5323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4994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3219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1125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301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247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3417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298,5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32803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</a:rPr>
                        <a:t>Актюбинская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2056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735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2263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607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767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021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330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711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406,5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32803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</a:rPr>
                        <a:t>Восточно-Казахстанская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3970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5137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4474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4079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150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570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949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3592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520,5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32803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err="1">
                          <a:effectLst/>
                        </a:rPr>
                        <a:t>Атырауская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953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061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073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1996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3287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541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856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447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534,5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32803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err="1">
                          <a:effectLst/>
                        </a:rPr>
                        <a:t>Жамбылская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3494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4602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4284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462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1032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 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949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688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283,5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32803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</a:rPr>
                        <a:t>Западно-Казахстанская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1675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354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882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425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3148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402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668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092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787,5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32803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</a:rPr>
                        <a:t>Карагандинская 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3287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4473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3810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3550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404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897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403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3502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534,5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32803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err="1">
                          <a:effectLst/>
                        </a:rPr>
                        <a:t>Костанайская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520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3477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814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3498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306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1907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1055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180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875,5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32803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err="1">
                          <a:effectLst/>
                        </a:rPr>
                        <a:t>Кызылординская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1749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857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869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726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783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037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1708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809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769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32803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err="1">
                          <a:effectLst/>
                        </a:rPr>
                        <a:t>Мангистауская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2396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3504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3516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523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3434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688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856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 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614,5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32803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</a:rPr>
                        <a:t>Павлодарская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3627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4794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4131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3986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523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669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648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3253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400,5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32803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</a:rPr>
                        <a:t>Северо-Казахстанская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3117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4284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3109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3768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028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629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299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2777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2142,5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32803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</a:rPr>
                        <a:t>Туркестанская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2677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3844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3181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435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410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011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1140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2337</a:t>
                      </a:r>
                      <a:endParaRPr lang="ru-RU" sz="1800" b="1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2032,5</a:t>
                      </a:r>
                      <a:endParaRPr lang="ru-RU" sz="1800" b="1" dirty="0">
                        <a:solidFill>
                          <a:srgbClr val="082A75"/>
                        </a:solidFill>
                        <a:effectLst/>
                        <a:latin typeface="Calibri" panose="020F0502020204030204" pitchFamily="34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359936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jrtZCBNEy4QbBHQlj2o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on</Template>
  <TotalTime>1685</TotalTime>
  <Words>729</Words>
  <Application>Microsoft Office PowerPoint</Application>
  <PresentationFormat>Экран (4:3)</PresentationFormat>
  <Paragraphs>338</Paragraphs>
  <Slides>5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0" baseType="lpstr">
      <vt:lpstr>Arial</vt:lpstr>
      <vt:lpstr>Calibri</vt:lpstr>
      <vt:lpstr>MS Mincho</vt:lpstr>
      <vt:lpstr>Times New Roman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лихан Абаканов</dc:creator>
  <cp:lastModifiedBy>Зарубаев</cp:lastModifiedBy>
  <cp:revision>150</cp:revision>
  <cp:lastPrinted>2021-10-27T15:29:52Z</cp:lastPrinted>
  <dcterms:created xsi:type="dcterms:W3CDTF">2019-01-02T05:00:51Z</dcterms:created>
  <dcterms:modified xsi:type="dcterms:W3CDTF">2022-06-30T09:26:26Z</dcterms:modified>
</cp:coreProperties>
</file>